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2" r:id="rId2"/>
  </p:sldMasterIdLst>
  <p:sldIdLst>
    <p:sldId id="2146847362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77" d="100"/>
          <a:sy n="77" d="100"/>
        </p:scale>
        <p:origin x="23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1.xml"/><Relationship Id="rId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8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9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EF1F581C-7709-4753-BDF4-E57669274A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9" b="7326"/>
          <a:stretch/>
        </p:blipFill>
        <p:spPr>
          <a:xfrm>
            <a:off x="-1" y="1"/>
            <a:ext cx="12192001" cy="6857999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694783C-7F47-495A-B6A2-CEB43926C37F}"/>
              </a:ext>
            </a:extLst>
          </p:cNvPr>
          <p:cNvSpPr/>
          <p:nvPr userDrawn="1"/>
        </p:nvSpPr>
        <p:spPr>
          <a:xfrm flipV="1">
            <a:off x="1" y="4827589"/>
            <a:ext cx="12192000" cy="2030411"/>
          </a:xfrm>
          <a:prstGeom prst="rect">
            <a:avLst/>
          </a:prstGeom>
          <a:gradFill flip="none" rotWithShape="1">
            <a:gsLst>
              <a:gs pos="50000">
                <a:schemeClr val="bg2">
                  <a:alpha val="43000"/>
                </a:schemeClr>
              </a:gs>
              <a:gs pos="0">
                <a:schemeClr val="bg2">
                  <a:alpha val="0"/>
                </a:schemeClr>
              </a:gs>
              <a:gs pos="100000">
                <a:schemeClr val="bg2">
                  <a:alpha val="80000"/>
                </a:schemeClr>
              </a:gs>
            </a:gsLst>
            <a:lin ang="162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 dirty="0">
              <a:solidFill>
                <a:schemeClr val="tx1"/>
              </a:solidFill>
            </a:endParaRP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367439" y="4960938"/>
            <a:ext cx="1224912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D5F85D3-9D85-4F14-A1E1-5AB2791E03A9}"/>
              </a:ext>
            </a:extLst>
          </p:cNvPr>
          <p:cNvGrpSpPr/>
          <p:nvPr userDrawn="1"/>
        </p:nvGrpSpPr>
        <p:grpSpPr>
          <a:xfrm>
            <a:off x="10131372" y="5467351"/>
            <a:ext cx="1455874" cy="757892"/>
            <a:chOff x="10968038" y="6343650"/>
            <a:chExt cx="625475" cy="325438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DAA6A36C-3D35-4DEA-BBD4-E728A1FEB5A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10968038" y="6343650"/>
              <a:ext cx="625475" cy="3254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EFFF87B-FF79-4B9B-8594-F66733493B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133138" y="6343650"/>
              <a:ext cx="288925" cy="198438"/>
            </a:xfrm>
            <a:custGeom>
              <a:avLst/>
              <a:gdLst>
                <a:gd name="T0" fmla="*/ 148 w 182"/>
                <a:gd name="T1" fmla="*/ 107 h 125"/>
                <a:gd name="T2" fmla="*/ 157 w 182"/>
                <a:gd name="T3" fmla="*/ 47 h 125"/>
                <a:gd name="T4" fmla="*/ 139 w 182"/>
                <a:gd name="T5" fmla="*/ 107 h 125"/>
                <a:gd name="T6" fmla="*/ 131 w 182"/>
                <a:gd name="T7" fmla="*/ 52 h 125"/>
                <a:gd name="T8" fmla="*/ 139 w 182"/>
                <a:gd name="T9" fmla="*/ 107 h 125"/>
                <a:gd name="T10" fmla="*/ 113 w 182"/>
                <a:gd name="T11" fmla="*/ 107 h 125"/>
                <a:gd name="T12" fmla="*/ 122 w 182"/>
                <a:gd name="T13" fmla="*/ 54 h 125"/>
                <a:gd name="T14" fmla="*/ 104 w 182"/>
                <a:gd name="T15" fmla="*/ 107 h 125"/>
                <a:gd name="T16" fmla="*/ 95 w 182"/>
                <a:gd name="T17" fmla="*/ 59 h 125"/>
                <a:gd name="T18" fmla="*/ 104 w 182"/>
                <a:gd name="T19" fmla="*/ 107 h 125"/>
                <a:gd name="T20" fmla="*/ 77 w 182"/>
                <a:gd name="T21" fmla="*/ 107 h 125"/>
                <a:gd name="T22" fmla="*/ 86 w 182"/>
                <a:gd name="T23" fmla="*/ 61 h 125"/>
                <a:gd name="T24" fmla="*/ 69 w 182"/>
                <a:gd name="T25" fmla="*/ 107 h 125"/>
                <a:gd name="T26" fmla="*/ 60 w 182"/>
                <a:gd name="T27" fmla="*/ 65 h 125"/>
                <a:gd name="T28" fmla="*/ 69 w 182"/>
                <a:gd name="T29" fmla="*/ 107 h 125"/>
                <a:gd name="T30" fmla="*/ 42 w 182"/>
                <a:gd name="T31" fmla="*/ 107 h 125"/>
                <a:gd name="T32" fmla="*/ 51 w 182"/>
                <a:gd name="T33" fmla="*/ 67 h 125"/>
                <a:gd name="T34" fmla="*/ 34 w 182"/>
                <a:gd name="T35" fmla="*/ 107 h 125"/>
                <a:gd name="T36" fmla="*/ 25 w 182"/>
                <a:gd name="T37" fmla="*/ 71 h 125"/>
                <a:gd name="T38" fmla="*/ 34 w 182"/>
                <a:gd name="T39" fmla="*/ 107 h 125"/>
                <a:gd name="T40" fmla="*/ 163 w 182"/>
                <a:gd name="T41" fmla="*/ 105 h 125"/>
                <a:gd name="T42" fmla="*/ 168 w 182"/>
                <a:gd name="T43" fmla="*/ 42 h 125"/>
                <a:gd name="T44" fmla="*/ 18 w 182"/>
                <a:gd name="T45" fmla="*/ 47 h 125"/>
                <a:gd name="T46" fmla="*/ 6 w 182"/>
                <a:gd name="T47" fmla="*/ 111 h 125"/>
                <a:gd name="T48" fmla="*/ 175 w 182"/>
                <a:gd name="T49" fmla="*/ 113 h 125"/>
                <a:gd name="T50" fmla="*/ 0 w 182"/>
                <a:gd name="T51" fmla="*/ 125 h 125"/>
                <a:gd name="T52" fmla="*/ 182 w 182"/>
                <a:gd name="T53" fmla="*/ 119 h 125"/>
                <a:gd name="T54" fmla="*/ 0 w 182"/>
                <a:gd name="T55" fmla="*/ 125 h 125"/>
                <a:gd name="T56" fmla="*/ 163 w 182"/>
                <a:gd name="T57" fmla="*/ 36 h 125"/>
                <a:gd name="T58" fmla="*/ 172 w 182"/>
                <a:gd name="T59" fmla="*/ 33 h 125"/>
                <a:gd name="T60" fmla="*/ 91 w 182"/>
                <a:gd name="T61" fmla="*/ 0 h 125"/>
                <a:gd name="T62" fmla="*/ 10 w 182"/>
                <a:gd name="T63" fmla="*/ 33 h 125"/>
                <a:gd name="T64" fmla="*/ 18 w 182"/>
                <a:gd name="T65" fmla="*/ 36 h 125"/>
                <a:gd name="T66" fmla="*/ 35 w 182"/>
                <a:gd name="T67" fmla="*/ 36 h 125"/>
                <a:gd name="T68" fmla="*/ 91 w 182"/>
                <a:gd name="T69" fmla="*/ 17 h 125"/>
                <a:gd name="T70" fmla="*/ 147 w 182"/>
                <a:gd name="T71" fmla="*/ 36 h 125"/>
                <a:gd name="T72" fmla="*/ 35 w 182"/>
                <a:gd name="T73" fmla="*/ 36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2" h="125">
                  <a:moveTo>
                    <a:pt x="157" y="107"/>
                  </a:moveTo>
                  <a:lnTo>
                    <a:pt x="148" y="107"/>
                  </a:lnTo>
                  <a:lnTo>
                    <a:pt x="148" y="49"/>
                  </a:lnTo>
                  <a:lnTo>
                    <a:pt x="157" y="47"/>
                  </a:lnTo>
                  <a:lnTo>
                    <a:pt x="157" y="107"/>
                  </a:lnTo>
                  <a:close/>
                  <a:moveTo>
                    <a:pt x="139" y="107"/>
                  </a:moveTo>
                  <a:lnTo>
                    <a:pt x="131" y="107"/>
                  </a:lnTo>
                  <a:lnTo>
                    <a:pt x="131" y="52"/>
                  </a:lnTo>
                  <a:lnTo>
                    <a:pt x="139" y="51"/>
                  </a:lnTo>
                  <a:lnTo>
                    <a:pt x="139" y="107"/>
                  </a:lnTo>
                  <a:close/>
                  <a:moveTo>
                    <a:pt x="122" y="107"/>
                  </a:moveTo>
                  <a:lnTo>
                    <a:pt x="113" y="107"/>
                  </a:lnTo>
                  <a:lnTo>
                    <a:pt x="113" y="56"/>
                  </a:lnTo>
                  <a:lnTo>
                    <a:pt x="122" y="54"/>
                  </a:lnTo>
                  <a:lnTo>
                    <a:pt x="122" y="107"/>
                  </a:lnTo>
                  <a:close/>
                  <a:moveTo>
                    <a:pt x="104" y="107"/>
                  </a:moveTo>
                  <a:lnTo>
                    <a:pt x="95" y="107"/>
                  </a:lnTo>
                  <a:lnTo>
                    <a:pt x="95" y="59"/>
                  </a:lnTo>
                  <a:lnTo>
                    <a:pt x="104" y="57"/>
                  </a:lnTo>
                  <a:lnTo>
                    <a:pt x="104" y="107"/>
                  </a:lnTo>
                  <a:close/>
                  <a:moveTo>
                    <a:pt x="86" y="107"/>
                  </a:moveTo>
                  <a:lnTo>
                    <a:pt x="77" y="107"/>
                  </a:lnTo>
                  <a:lnTo>
                    <a:pt x="77" y="62"/>
                  </a:lnTo>
                  <a:lnTo>
                    <a:pt x="86" y="61"/>
                  </a:lnTo>
                  <a:lnTo>
                    <a:pt x="86" y="107"/>
                  </a:lnTo>
                  <a:close/>
                  <a:moveTo>
                    <a:pt x="69" y="107"/>
                  </a:moveTo>
                  <a:lnTo>
                    <a:pt x="60" y="107"/>
                  </a:lnTo>
                  <a:lnTo>
                    <a:pt x="60" y="65"/>
                  </a:lnTo>
                  <a:lnTo>
                    <a:pt x="69" y="64"/>
                  </a:lnTo>
                  <a:lnTo>
                    <a:pt x="69" y="107"/>
                  </a:lnTo>
                  <a:close/>
                  <a:moveTo>
                    <a:pt x="51" y="107"/>
                  </a:moveTo>
                  <a:lnTo>
                    <a:pt x="42" y="107"/>
                  </a:lnTo>
                  <a:lnTo>
                    <a:pt x="42" y="68"/>
                  </a:lnTo>
                  <a:lnTo>
                    <a:pt x="51" y="67"/>
                  </a:lnTo>
                  <a:lnTo>
                    <a:pt x="51" y="107"/>
                  </a:lnTo>
                  <a:close/>
                  <a:moveTo>
                    <a:pt x="34" y="107"/>
                  </a:moveTo>
                  <a:lnTo>
                    <a:pt x="25" y="107"/>
                  </a:lnTo>
                  <a:lnTo>
                    <a:pt x="25" y="71"/>
                  </a:lnTo>
                  <a:lnTo>
                    <a:pt x="34" y="70"/>
                  </a:lnTo>
                  <a:lnTo>
                    <a:pt x="34" y="107"/>
                  </a:lnTo>
                  <a:close/>
                  <a:moveTo>
                    <a:pt x="175" y="111"/>
                  </a:moveTo>
                  <a:lnTo>
                    <a:pt x="163" y="105"/>
                  </a:lnTo>
                  <a:lnTo>
                    <a:pt x="163" y="47"/>
                  </a:lnTo>
                  <a:lnTo>
                    <a:pt x="168" y="42"/>
                  </a:lnTo>
                  <a:lnTo>
                    <a:pt x="14" y="42"/>
                  </a:lnTo>
                  <a:lnTo>
                    <a:pt x="18" y="47"/>
                  </a:lnTo>
                  <a:lnTo>
                    <a:pt x="18" y="106"/>
                  </a:lnTo>
                  <a:lnTo>
                    <a:pt x="6" y="111"/>
                  </a:lnTo>
                  <a:lnTo>
                    <a:pt x="6" y="113"/>
                  </a:lnTo>
                  <a:lnTo>
                    <a:pt x="175" y="113"/>
                  </a:lnTo>
                  <a:lnTo>
                    <a:pt x="175" y="111"/>
                  </a:lnTo>
                  <a:close/>
                  <a:moveTo>
                    <a:pt x="0" y="125"/>
                  </a:moveTo>
                  <a:lnTo>
                    <a:pt x="182" y="125"/>
                  </a:lnTo>
                  <a:lnTo>
                    <a:pt x="182" y="119"/>
                  </a:lnTo>
                  <a:lnTo>
                    <a:pt x="0" y="119"/>
                  </a:lnTo>
                  <a:lnTo>
                    <a:pt x="0" y="125"/>
                  </a:lnTo>
                  <a:close/>
                  <a:moveTo>
                    <a:pt x="91" y="7"/>
                  </a:moveTo>
                  <a:lnTo>
                    <a:pt x="163" y="36"/>
                  </a:lnTo>
                  <a:lnTo>
                    <a:pt x="172" y="36"/>
                  </a:lnTo>
                  <a:lnTo>
                    <a:pt x="172" y="33"/>
                  </a:lnTo>
                  <a:lnTo>
                    <a:pt x="91" y="0"/>
                  </a:lnTo>
                  <a:lnTo>
                    <a:pt x="91" y="0"/>
                  </a:lnTo>
                  <a:lnTo>
                    <a:pt x="91" y="0"/>
                  </a:lnTo>
                  <a:lnTo>
                    <a:pt x="10" y="33"/>
                  </a:lnTo>
                  <a:lnTo>
                    <a:pt x="10" y="36"/>
                  </a:lnTo>
                  <a:lnTo>
                    <a:pt x="18" y="36"/>
                  </a:lnTo>
                  <a:lnTo>
                    <a:pt x="91" y="7"/>
                  </a:lnTo>
                  <a:close/>
                  <a:moveTo>
                    <a:pt x="35" y="36"/>
                  </a:moveTo>
                  <a:lnTo>
                    <a:pt x="45" y="36"/>
                  </a:lnTo>
                  <a:lnTo>
                    <a:pt x="91" y="17"/>
                  </a:lnTo>
                  <a:lnTo>
                    <a:pt x="137" y="36"/>
                  </a:lnTo>
                  <a:lnTo>
                    <a:pt x="147" y="36"/>
                  </a:lnTo>
                  <a:lnTo>
                    <a:pt x="91" y="13"/>
                  </a:lnTo>
                  <a:lnTo>
                    <a:pt x="35" y="36"/>
                  </a:lnTo>
                  <a:close/>
                </a:path>
              </a:pathLst>
            </a:custGeom>
            <a:solidFill>
              <a:srgbClr val="44A2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73AF7F19-68A9-446F-A13B-B98CFD2FB6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968038" y="6605588"/>
              <a:ext cx="52388" cy="61913"/>
            </a:xfrm>
            <a:custGeom>
              <a:avLst/>
              <a:gdLst>
                <a:gd name="T0" fmla="*/ 16 w 64"/>
                <a:gd name="T1" fmla="*/ 14 h 76"/>
                <a:gd name="T2" fmla="*/ 16 w 64"/>
                <a:gd name="T3" fmla="*/ 41 h 76"/>
                <a:gd name="T4" fmla="*/ 34 w 64"/>
                <a:gd name="T5" fmla="*/ 41 h 76"/>
                <a:gd name="T6" fmla="*/ 48 w 64"/>
                <a:gd name="T7" fmla="*/ 27 h 76"/>
                <a:gd name="T8" fmla="*/ 34 w 64"/>
                <a:gd name="T9" fmla="*/ 14 h 76"/>
                <a:gd name="T10" fmla="*/ 16 w 64"/>
                <a:gd name="T11" fmla="*/ 14 h 76"/>
                <a:gd name="T12" fmla="*/ 0 w 64"/>
                <a:gd name="T13" fmla="*/ 0 h 76"/>
                <a:gd name="T14" fmla="*/ 36 w 64"/>
                <a:gd name="T15" fmla="*/ 0 h 76"/>
                <a:gd name="T16" fmla="*/ 64 w 64"/>
                <a:gd name="T17" fmla="*/ 28 h 76"/>
                <a:gd name="T18" fmla="*/ 36 w 64"/>
                <a:gd name="T19" fmla="*/ 55 h 76"/>
                <a:gd name="T20" fmla="*/ 16 w 64"/>
                <a:gd name="T21" fmla="*/ 55 h 76"/>
                <a:gd name="T22" fmla="*/ 16 w 64"/>
                <a:gd name="T23" fmla="*/ 76 h 76"/>
                <a:gd name="T24" fmla="*/ 0 w 64"/>
                <a:gd name="T25" fmla="*/ 76 h 76"/>
                <a:gd name="T26" fmla="*/ 0 w 64"/>
                <a:gd name="T27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" h="76">
                  <a:moveTo>
                    <a:pt x="16" y="14"/>
                  </a:moveTo>
                  <a:cubicBezTo>
                    <a:pt x="16" y="41"/>
                    <a:pt x="16" y="41"/>
                    <a:pt x="16" y="41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42" y="41"/>
                    <a:pt x="48" y="36"/>
                    <a:pt x="48" y="27"/>
                  </a:cubicBezTo>
                  <a:cubicBezTo>
                    <a:pt x="48" y="18"/>
                    <a:pt x="42" y="14"/>
                    <a:pt x="34" y="14"/>
                  </a:cubicBezTo>
                  <a:lnTo>
                    <a:pt x="16" y="14"/>
                  </a:lnTo>
                  <a:close/>
                  <a:moveTo>
                    <a:pt x="0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51" y="0"/>
                    <a:pt x="64" y="9"/>
                    <a:pt x="64" y="28"/>
                  </a:cubicBezTo>
                  <a:cubicBezTo>
                    <a:pt x="64" y="45"/>
                    <a:pt x="51" y="55"/>
                    <a:pt x="3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0" y="76"/>
                    <a:pt x="0" y="76"/>
                    <a:pt x="0" y="7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7A2119AD-20F5-42F6-B02A-08A62914EAE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26776" y="6605588"/>
              <a:ext cx="63500" cy="61913"/>
            </a:xfrm>
            <a:custGeom>
              <a:avLst/>
              <a:gdLst>
                <a:gd name="T0" fmla="*/ 13 w 40"/>
                <a:gd name="T1" fmla="*/ 25 h 39"/>
                <a:gd name="T2" fmla="*/ 27 w 40"/>
                <a:gd name="T3" fmla="*/ 25 h 39"/>
                <a:gd name="T4" fmla="*/ 20 w 40"/>
                <a:gd name="T5" fmla="*/ 8 h 39"/>
                <a:gd name="T6" fmla="*/ 13 w 40"/>
                <a:gd name="T7" fmla="*/ 25 h 39"/>
                <a:gd name="T8" fmla="*/ 16 w 40"/>
                <a:gd name="T9" fmla="*/ 0 h 39"/>
                <a:gd name="T10" fmla="*/ 25 w 40"/>
                <a:gd name="T11" fmla="*/ 0 h 39"/>
                <a:gd name="T12" fmla="*/ 40 w 40"/>
                <a:gd name="T13" fmla="*/ 39 h 39"/>
                <a:gd name="T14" fmla="*/ 32 w 40"/>
                <a:gd name="T15" fmla="*/ 39 h 39"/>
                <a:gd name="T16" fmla="*/ 29 w 40"/>
                <a:gd name="T17" fmla="*/ 31 h 39"/>
                <a:gd name="T18" fmla="*/ 11 w 40"/>
                <a:gd name="T19" fmla="*/ 31 h 39"/>
                <a:gd name="T20" fmla="*/ 8 w 40"/>
                <a:gd name="T21" fmla="*/ 39 h 39"/>
                <a:gd name="T22" fmla="*/ 0 w 40"/>
                <a:gd name="T23" fmla="*/ 39 h 39"/>
                <a:gd name="T24" fmla="*/ 16 w 40"/>
                <a:gd name="T25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" h="39">
                  <a:moveTo>
                    <a:pt x="13" y="25"/>
                  </a:moveTo>
                  <a:lnTo>
                    <a:pt x="27" y="25"/>
                  </a:lnTo>
                  <a:lnTo>
                    <a:pt x="20" y="8"/>
                  </a:lnTo>
                  <a:lnTo>
                    <a:pt x="13" y="25"/>
                  </a:lnTo>
                  <a:close/>
                  <a:moveTo>
                    <a:pt x="16" y="0"/>
                  </a:moveTo>
                  <a:lnTo>
                    <a:pt x="25" y="0"/>
                  </a:lnTo>
                  <a:lnTo>
                    <a:pt x="40" y="39"/>
                  </a:lnTo>
                  <a:lnTo>
                    <a:pt x="32" y="39"/>
                  </a:lnTo>
                  <a:lnTo>
                    <a:pt x="29" y="31"/>
                  </a:lnTo>
                  <a:lnTo>
                    <a:pt x="11" y="31"/>
                  </a:lnTo>
                  <a:lnTo>
                    <a:pt x="8" y="39"/>
                  </a:lnTo>
                  <a:lnTo>
                    <a:pt x="0" y="39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9C2E41B7-DDF7-4F4A-93EA-1988159DEA0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106151" y="6605588"/>
              <a:ext cx="53975" cy="61913"/>
            </a:xfrm>
            <a:custGeom>
              <a:avLst/>
              <a:gdLst>
                <a:gd name="T0" fmla="*/ 15 w 67"/>
                <a:gd name="T1" fmla="*/ 14 h 76"/>
                <a:gd name="T2" fmla="*/ 15 w 67"/>
                <a:gd name="T3" fmla="*/ 36 h 76"/>
                <a:gd name="T4" fmla="*/ 34 w 67"/>
                <a:gd name="T5" fmla="*/ 36 h 76"/>
                <a:gd name="T6" fmla="*/ 47 w 67"/>
                <a:gd name="T7" fmla="*/ 25 h 76"/>
                <a:gd name="T8" fmla="*/ 34 w 67"/>
                <a:gd name="T9" fmla="*/ 14 h 76"/>
                <a:gd name="T10" fmla="*/ 15 w 67"/>
                <a:gd name="T11" fmla="*/ 14 h 76"/>
                <a:gd name="T12" fmla="*/ 0 w 67"/>
                <a:gd name="T13" fmla="*/ 0 h 76"/>
                <a:gd name="T14" fmla="*/ 33 w 67"/>
                <a:gd name="T15" fmla="*/ 0 h 76"/>
                <a:gd name="T16" fmla="*/ 63 w 67"/>
                <a:gd name="T17" fmla="*/ 25 h 76"/>
                <a:gd name="T18" fmla="*/ 43 w 67"/>
                <a:gd name="T19" fmla="*/ 48 h 76"/>
                <a:gd name="T20" fmla="*/ 67 w 67"/>
                <a:gd name="T21" fmla="*/ 73 h 76"/>
                <a:gd name="T22" fmla="*/ 67 w 67"/>
                <a:gd name="T23" fmla="*/ 76 h 76"/>
                <a:gd name="T24" fmla="*/ 50 w 67"/>
                <a:gd name="T25" fmla="*/ 76 h 76"/>
                <a:gd name="T26" fmla="*/ 24 w 67"/>
                <a:gd name="T27" fmla="*/ 48 h 76"/>
                <a:gd name="T28" fmla="*/ 15 w 67"/>
                <a:gd name="T29" fmla="*/ 48 h 76"/>
                <a:gd name="T30" fmla="*/ 15 w 67"/>
                <a:gd name="T31" fmla="*/ 76 h 76"/>
                <a:gd name="T32" fmla="*/ 0 w 67"/>
                <a:gd name="T33" fmla="*/ 76 h 76"/>
                <a:gd name="T34" fmla="*/ 0 w 67"/>
                <a:gd name="T3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" h="76">
                  <a:moveTo>
                    <a:pt x="15" y="14"/>
                  </a:moveTo>
                  <a:cubicBezTo>
                    <a:pt x="15" y="36"/>
                    <a:pt x="15" y="36"/>
                    <a:pt x="15" y="36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42" y="36"/>
                    <a:pt x="47" y="32"/>
                    <a:pt x="47" y="25"/>
                  </a:cubicBezTo>
                  <a:cubicBezTo>
                    <a:pt x="47" y="17"/>
                    <a:pt x="42" y="14"/>
                    <a:pt x="34" y="14"/>
                  </a:cubicBezTo>
                  <a:lnTo>
                    <a:pt x="15" y="14"/>
                  </a:lnTo>
                  <a:close/>
                  <a:moveTo>
                    <a:pt x="0" y="0"/>
                  </a:moveTo>
                  <a:cubicBezTo>
                    <a:pt x="33" y="0"/>
                    <a:pt x="33" y="0"/>
                    <a:pt x="33" y="0"/>
                  </a:cubicBezTo>
                  <a:cubicBezTo>
                    <a:pt x="51" y="0"/>
                    <a:pt x="63" y="8"/>
                    <a:pt x="63" y="25"/>
                  </a:cubicBezTo>
                  <a:cubicBezTo>
                    <a:pt x="63" y="37"/>
                    <a:pt x="54" y="45"/>
                    <a:pt x="43" y="48"/>
                  </a:cubicBezTo>
                  <a:cubicBezTo>
                    <a:pt x="67" y="73"/>
                    <a:pt x="67" y="73"/>
                    <a:pt x="67" y="73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50" y="76"/>
                    <a:pt x="50" y="76"/>
                    <a:pt x="50" y="76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0" y="76"/>
                    <a:pt x="0" y="76"/>
                    <a:pt x="0" y="7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439E77E1-E4A8-4181-ADC9-971DB33EE0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69651" y="6605588"/>
              <a:ext cx="53975" cy="61913"/>
            </a:xfrm>
            <a:custGeom>
              <a:avLst/>
              <a:gdLst>
                <a:gd name="T0" fmla="*/ 22 w 34"/>
                <a:gd name="T1" fmla="*/ 7 h 39"/>
                <a:gd name="T2" fmla="*/ 22 w 34"/>
                <a:gd name="T3" fmla="*/ 39 h 39"/>
                <a:gd name="T4" fmla="*/ 13 w 34"/>
                <a:gd name="T5" fmla="*/ 39 h 39"/>
                <a:gd name="T6" fmla="*/ 13 w 34"/>
                <a:gd name="T7" fmla="*/ 7 h 39"/>
                <a:gd name="T8" fmla="*/ 0 w 34"/>
                <a:gd name="T9" fmla="*/ 7 h 39"/>
                <a:gd name="T10" fmla="*/ 0 w 34"/>
                <a:gd name="T11" fmla="*/ 0 h 39"/>
                <a:gd name="T12" fmla="*/ 34 w 34"/>
                <a:gd name="T13" fmla="*/ 0 h 39"/>
                <a:gd name="T14" fmla="*/ 34 w 34"/>
                <a:gd name="T15" fmla="*/ 7 h 39"/>
                <a:gd name="T16" fmla="*/ 22 w 34"/>
                <a:gd name="T17" fmla="*/ 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39">
                  <a:moveTo>
                    <a:pt x="22" y="7"/>
                  </a:moveTo>
                  <a:lnTo>
                    <a:pt x="22" y="39"/>
                  </a:lnTo>
                  <a:lnTo>
                    <a:pt x="13" y="39"/>
                  </a:lnTo>
                  <a:lnTo>
                    <a:pt x="13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34" y="0"/>
                  </a:lnTo>
                  <a:lnTo>
                    <a:pt x="34" y="7"/>
                  </a:lnTo>
                  <a:lnTo>
                    <a:pt x="22" y="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6B0F614F-D876-421B-9970-818AC142A0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37913" y="6605588"/>
              <a:ext cx="60325" cy="61913"/>
            </a:xfrm>
            <a:custGeom>
              <a:avLst/>
              <a:gdLst>
                <a:gd name="T0" fmla="*/ 30 w 38"/>
                <a:gd name="T1" fmla="*/ 23 h 39"/>
                <a:gd name="T2" fmla="*/ 9 w 38"/>
                <a:gd name="T3" fmla="*/ 23 h 39"/>
                <a:gd name="T4" fmla="*/ 9 w 38"/>
                <a:gd name="T5" fmla="*/ 39 h 39"/>
                <a:gd name="T6" fmla="*/ 0 w 38"/>
                <a:gd name="T7" fmla="*/ 39 h 39"/>
                <a:gd name="T8" fmla="*/ 0 w 38"/>
                <a:gd name="T9" fmla="*/ 0 h 39"/>
                <a:gd name="T10" fmla="*/ 9 w 38"/>
                <a:gd name="T11" fmla="*/ 0 h 39"/>
                <a:gd name="T12" fmla="*/ 9 w 38"/>
                <a:gd name="T13" fmla="*/ 16 h 39"/>
                <a:gd name="T14" fmla="*/ 30 w 38"/>
                <a:gd name="T15" fmla="*/ 16 h 39"/>
                <a:gd name="T16" fmla="*/ 30 w 38"/>
                <a:gd name="T17" fmla="*/ 0 h 39"/>
                <a:gd name="T18" fmla="*/ 38 w 38"/>
                <a:gd name="T19" fmla="*/ 0 h 39"/>
                <a:gd name="T20" fmla="*/ 38 w 38"/>
                <a:gd name="T21" fmla="*/ 39 h 39"/>
                <a:gd name="T22" fmla="*/ 30 w 38"/>
                <a:gd name="T23" fmla="*/ 39 h 39"/>
                <a:gd name="T24" fmla="*/ 30 w 38"/>
                <a:gd name="T25" fmla="*/ 2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39">
                  <a:moveTo>
                    <a:pt x="30" y="23"/>
                  </a:moveTo>
                  <a:lnTo>
                    <a:pt x="9" y="23"/>
                  </a:lnTo>
                  <a:lnTo>
                    <a:pt x="9" y="39"/>
                  </a:lnTo>
                  <a:lnTo>
                    <a:pt x="0" y="39"/>
                  </a:lnTo>
                  <a:lnTo>
                    <a:pt x="0" y="0"/>
                  </a:lnTo>
                  <a:lnTo>
                    <a:pt x="9" y="0"/>
                  </a:lnTo>
                  <a:lnTo>
                    <a:pt x="9" y="16"/>
                  </a:lnTo>
                  <a:lnTo>
                    <a:pt x="30" y="16"/>
                  </a:lnTo>
                  <a:lnTo>
                    <a:pt x="30" y="0"/>
                  </a:lnTo>
                  <a:lnTo>
                    <a:pt x="38" y="0"/>
                  </a:lnTo>
                  <a:lnTo>
                    <a:pt x="38" y="39"/>
                  </a:lnTo>
                  <a:lnTo>
                    <a:pt x="30" y="39"/>
                  </a:lnTo>
                  <a:lnTo>
                    <a:pt x="30" y="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5B78B79C-8389-4406-A4C0-864707E5F7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14113" y="6605588"/>
              <a:ext cx="50800" cy="61913"/>
            </a:xfrm>
            <a:custGeom>
              <a:avLst/>
              <a:gdLst>
                <a:gd name="T0" fmla="*/ 0 w 32"/>
                <a:gd name="T1" fmla="*/ 39 h 39"/>
                <a:gd name="T2" fmla="*/ 0 w 32"/>
                <a:gd name="T3" fmla="*/ 0 h 39"/>
                <a:gd name="T4" fmla="*/ 32 w 32"/>
                <a:gd name="T5" fmla="*/ 0 h 39"/>
                <a:gd name="T6" fmla="*/ 32 w 32"/>
                <a:gd name="T7" fmla="*/ 7 h 39"/>
                <a:gd name="T8" fmla="*/ 8 w 32"/>
                <a:gd name="T9" fmla="*/ 7 h 39"/>
                <a:gd name="T10" fmla="*/ 8 w 32"/>
                <a:gd name="T11" fmla="*/ 15 h 39"/>
                <a:gd name="T12" fmla="*/ 27 w 32"/>
                <a:gd name="T13" fmla="*/ 15 h 39"/>
                <a:gd name="T14" fmla="*/ 27 w 32"/>
                <a:gd name="T15" fmla="*/ 23 h 39"/>
                <a:gd name="T16" fmla="*/ 8 w 32"/>
                <a:gd name="T17" fmla="*/ 23 h 39"/>
                <a:gd name="T18" fmla="*/ 8 w 32"/>
                <a:gd name="T19" fmla="*/ 32 h 39"/>
                <a:gd name="T20" fmla="*/ 32 w 32"/>
                <a:gd name="T21" fmla="*/ 32 h 39"/>
                <a:gd name="T22" fmla="*/ 32 w 32"/>
                <a:gd name="T23" fmla="*/ 39 h 39"/>
                <a:gd name="T24" fmla="*/ 0 w 32"/>
                <a:gd name="T2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39">
                  <a:moveTo>
                    <a:pt x="0" y="39"/>
                  </a:moveTo>
                  <a:lnTo>
                    <a:pt x="0" y="0"/>
                  </a:lnTo>
                  <a:lnTo>
                    <a:pt x="32" y="0"/>
                  </a:lnTo>
                  <a:lnTo>
                    <a:pt x="32" y="7"/>
                  </a:lnTo>
                  <a:lnTo>
                    <a:pt x="8" y="7"/>
                  </a:lnTo>
                  <a:lnTo>
                    <a:pt x="8" y="15"/>
                  </a:lnTo>
                  <a:lnTo>
                    <a:pt x="27" y="15"/>
                  </a:lnTo>
                  <a:lnTo>
                    <a:pt x="27" y="23"/>
                  </a:lnTo>
                  <a:lnTo>
                    <a:pt x="8" y="23"/>
                  </a:lnTo>
                  <a:lnTo>
                    <a:pt x="8" y="32"/>
                  </a:lnTo>
                  <a:lnTo>
                    <a:pt x="32" y="32"/>
                  </a:lnTo>
                  <a:lnTo>
                    <a:pt x="32" y="39"/>
                  </a:lnTo>
                  <a:lnTo>
                    <a:pt x="0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4D458B75-2E80-4F42-91F5-66A325DC99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82376" y="6605588"/>
              <a:ext cx="58738" cy="61913"/>
            </a:xfrm>
            <a:custGeom>
              <a:avLst/>
              <a:gdLst>
                <a:gd name="T0" fmla="*/ 8 w 37"/>
                <a:gd name="T1" fmla="*/ 13 h 39"/>
                <a:gd name="T2" fmla="*/ 8 w 37"/>
                <a:gd name="T3" fmla="*/ 39 h 39"/>
                <a:gd name="T4" fmla="*/ 0 w 37"/>
                <a:gd name="T5" fmla="*/ 39 h 39"/>
                <a:gd name="T6" fmla="*/ 0 w 37"/>
                <a:gd name="T7" fmla="*/ 0 h 39"/>
                <a:gd name="T8" fmla="*/ 7 w 37"/>
                <a:gd name="T9" fmla="*/ 0 h 39"/>
                <a:gd name="T10" fmla="*/ 29 w 37"/>
                <a:gd name="T11" fmla="*/ 26 h 39"/>
                <a:gd name="T12" fmla="*/ 29 w 37"/>
                <a:gd name="T13" fmla="*/ 0 h 39"/>
                <a:gd name="T14" fmla="*/ 37 w 37"/>
                <a:gd name="T15" fmla="*/ 0 h 39"/>
                <a:gd name="T16" fmla="*/ 37 w 37"/>
                <a:gd name="T17" fmla="*/ 39 h 39"/>
                <a:gd name="T18" fmla="*/ 30 w 37"/>
                <a:gd name="T19" fmla="*/ 39 h 39"/>
                <a:gd name="T20" fmla="*/ 8 w 37"/>
                <a:gd name="T21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" h="39">
                  <a:moveTo>
                    <a:pt x="8" y="13"/>
                  </a:moveTo>
                  <a:lnTo>
                    <a:pt x="8" y="39"/>
                  </a:lnTo>
                  <a:lnTo>
                    <a:pt x="0" y="39"/>
                  </a:lnTo>
                  <a:lnTo>
                    <a:pt x="0" y="0"/>
                  </a:lnTo>
                  <a:lnTo>
                    <a:pt x="7" y="0"/>
                  </a:lnTo>
                  <a:lnTo>
                    <a:pt x="29" y="26"/>
                  </a:lnTo>
                  <a:lnTo>
                    <a:pt x="29" y="0"/>
                  </a:lnTo>
                  <a:lnTo>
                    <a:pt x="37" y="0"/>
                  </a:lnTo>
                  <a:lnTo>
                    <a:pt x="37" y="39"/>
                  </a:lnTo>
                  <a:lnTo>
                    <a:pt x="30" y="39"/>
                  </a:lnTo>
                  <a:lnTo>
                    <a:pt x="8" y="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5B5BD1DD-B428-492C-BC69-2562D702CA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55401" y="6604000"/>
              <a:ext cx="63500" cy="65088"/>
            </a:xfrm>
            <a:custGeom>
              <a:avLst/>
              <a:gdLst>
                <a:gd name="T0" fmla="*/ 39 w 77"/>
                <a:gd name="T1" fmla="*/ 63 h 78"/>
                <a:gd name="T2" fmla="*/ 62 w 77"/>
                <a:gd name="T3" fmla="*/ 39 h 78"/>
                <a:gd name="T4" fmla="*/ 39 w 77"/>
                <a:gd name="T5" fmla="*/ 15 h 78"/>
                <a:gd name="T6" fmla="*/ 15 w 77"/>
                <a:gd name="T7" fmla="*/ 39 h 78"/>
                <a:gd name="T8" fmla="*/ 39 w 77"/>
                <a:gd name="T9" fmla="*/ 63 h 78"/>
                <a:gd name="T10" fmla="*/ 38 w 77"/>
                <a:gd name="T11" fmla="*/ 0 h 78"/>
                <a:gd name="T12" fmla="*/ 77 w 77"/>
                <a:gd name="T13" fmla="*/ 39 h 78"/>
                <a:gd name="T14" fmla="*/ 38 w 77"/>
                <a:gd name="T15" fmla="*/ 78 h 78"/>
                <a:gd name="T16" fmla="*/ 0 w 77"/>
                <a:gd name="T17" fmla="*/ 39 h 78"/>
                <a:gd name="T18" fmla="*/ 38 w 77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8">
                  <a:moveTo>
                    <a:pt x="39" y="63"/>
                  </a:moveTo>
                  <a:cubicBezTo>
                    <a:pt x="52" y="63"/>
                    <a:pt x="62" y="53"/>
                    <a:pt x="62" y="39"/>
                  </a:cubicBezTo>
                  <a:cubicBezTo>
                    <a:pt x="62" y="25"/>
                    <a:pt x="52" y="15"/>
                    <a:pt x="39" y="15"/>
                  </a:cubicBezTo>
                  <a:cubicBezTo>
                    <a:pt x="25" y="15"/>
                    <a:pt x="15" y="25"/>
                    <a:pt x="15" y="39"/>
                  </a:cubicBezTo>
                  <a:cubicBezTo>
                    <a:pt x="15" y="53"/>
                    <a:pt x="25" y="63"/>
                    <a:pt x="39" y="63"/>
                  </a:cubicBezTo>
                  <a:moveTo>
                    <a:pt x="38" y="0"/>
                  </a:moveTo>
                  <a:cubicBezTo>
                    <a:pt x="61" y="0"/>
                    <a:pt x="77" y="17"/>
                    <a:pt x="77" y="39"/>
                  </a:cubicBezTo>
                  <a:cubicBezTo>
                    <a:pt x="77" y="61"/>
                    <a:pt x="61" y="78"/>
                    <a:pt x="38" y="78"/>
                  </a:cubicBezTo>
                  <a:cubicBezTo>
                    <a:pt x="16" y="78"/>
                    <a:pt x="0" y="61"/>
                    <a:pt x="0" y="39"/>
                  </a:cubicBezTo>
                  <a:cubicBezTo>
                    <a:pt x="0" y="17"/>
                    <a:pt x="16" y="0"/>
                    <a:pt x="38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03A796D8-A328-43F0-AFEC-6AA678C290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33188" y="6605588"/>
              <a:ext cx="58738" cy="61913"/>
            </a:xfrm>
            <a:custGeom>
              <a:avLst/>
              <a:gdLst>
                <a:gd name="T0" fmla="*/ 8 w 37"/>
                <a:gd name="T1" fmla="*/ 13 h 39"/>
                <a:gd name="T2" fmla="*/ 8 w 37"/>
                <a:gd name="T3" fmla="*/ 39 h 39"/>
                <a:gd name="T4" fmla="*/ 0 w 37"/>
                <a:gd name="T5" fmla="*/ 39 h 39"/>
                <a:gd name="T6" fmla="*/ 0 w 37"/>
                <a:gd name="T7" fmla="*/ 0 h 39"/>
                <a:gd name="T8" fmla="*/ 7 w 37"/>
                <a:gd name="T9" fmla="*/ 0 h 39"/>
                <a:gd name="T10" fmla="*/ 29 w 37"/>
                <a:gd name="T11" fmla="*/ 26 h 39"/>
                <a:gd name="T12" fmla="*/ 29 w 37"/>
                <a:gd name="T13" fmla="*/ 0 h 39"/>
                <a:gd name="T14" fmla="*/ 37 w 37"/>
                <a:gd name="T15" fmla="*/ 0 h 39"/>
                <a:gd name="T16" fmla="*/ 37 w 37"/>
                <a:gd name="T17" fmla="*/ 39 h 39"/>
                <a:gd name="T18" fmla="*/ 30 w 37"/>
                <a:gd name="T19" fmla="*/ 39 h 39"/>
                <a:gd name="T20" fmla="*/ 8 w 37"/>
                <a:gd name="T21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" h="39">
                  <a:moveTo>
                    <a:pt x="8" y="13"/>
                  </a:moveTo>
                  <a:lnTo>
                    <a:pt x="8" y="39"/>
                  </a:lnTo>
                  <a:lnTo>
                    <a:pt x="0" y="39"/>
                  </a:lnTo>
                  <a:lnTo>
                    <a:pt x="0" y="0"/>
                  </a:lnTo>
                  <a:lnTo>
                    <a:pt x="7" y="0"/>
                  </a:lnTo>
                  <a:lnTo>
                    <a:pt x="29" y="26"/>
                  </a:lnTo>
                  <a:lnTo>
                    <a:pt x="29" y="0"/>
                  </a:lnTo>
                  <a:lnTo>
                    <a:pt x="37" y="0"/>
                  </a:lnTo>
                  <a:lnTo>
                    <a:pt x="37" y="39"/>
                  </a:lnTo>
                  <a:lnTo>
                    <a:pt x="30" y="39"/>
                  </a:lnTo>
                  <a:lnTo>
                    <a:pt x="8" y="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9843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3938" y="0"/>
            <a:ext cx="5968062" cy="6858000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13" y="2578743"/>
            <a:ext cx="4535597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13" y="3840384"/>
            <a:ext cx="4535597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0441448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137921"/>
            <a:ext cx="4954924" cy="4267457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29748" y="3813288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29748" y="4055931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9820" y="3578084"/>
            <a:ext cx="778554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9821" y="1137921"/>
            <a:ext cx="5462580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9821" y="1635009"/>
            <a:ext cx="5462580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27436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82768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8256332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102" y="1488927"/>
            <a:ext cx="2337171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083" y="2526765"/>
            <a:ext cx="5289245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083" y="4632765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083" y="4971442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3559604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137920"/>
            <a:ext cx="8234455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438">
              <a:defRPr>
                <a:solidFill>
                  <a:schemeClr val="bg1"/>
                </a:solidFill>
              </a:defRPr>
            </a:lvl2pPr>
            <a:lvl3pPr marL="712875">
              <a:defRPr>
                <a:solidFill>
                  <a:schemeClr val="bg1"/>
                </a:solidFill>
              </a:defRPr>
            </a:lvl3pPr>
            <a:lvl4pPr marL="1069313">
              <a:defRPr>
                <a:solidFill>
                  <a:schemeClr val="bg1"/>
                </a:solidFill>
              </a:defRPr>
            </a:lvl4pPr>
            <a:lvl5pPr marL="1425751"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22728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01515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1" y="1137919"/>
            <a:ext cx="5384800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137919"/>
            <a:ext cx="5384800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1015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329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6405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1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6405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49359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62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388" y="2158329"/>
            <a:ext cx="478139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4580" y="3200329"/>
            <a:ext cx="480552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112" y="723658"/>
            <a:ext cx="5677988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112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294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359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grpSp>
        <p:nvGrpSpPr>
          <p:cNvPr id="104" name="Group 4">
            <a:extLst>
              <a:ext uri="{FF2B5EF4-FFF2-40B4-BE49-F238E27FC236}">
                <a16:creationId xmlns:a16="http://schemas.microsoft.com/office/drawing/2014/main" id="{89402076-F24D-44C5-B8A7-1127F9C4B9B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A239DDBF-0740-4B20-9CF3-A05C2A0BF5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380EECCA-3396-425E-AB04-F11ABB1B50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28839975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00832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9465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65905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977872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33259292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9" y="0"/>
            <a:ext cx="12185658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63553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4" y="0"/>
            <a:ext cx="12185653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25589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501A2F11-32A0-4526-A5F7-F4382DA5B4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0" y="0"/>
            <a:ext cx="12185653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62623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08161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2441322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Picture 74">
            <a:extLst>
              <a:ext uri="{FF2B5EF4-FFF2-40B4-BE49-F238E27FC236}">
                <a16:creationId xmlns:a16="http://schemas.microsoft.com/office/drawing/2014/main" id="{32889845-07EE-48FB-A972-F8ECF1EF87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44" b="502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819BCB30-E1AA-4383-BEF0-0BE30C6425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9111" y="869577"/>
            <a:ext cx="4845500" cy="3933825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388" y="2158329"/>
            <a:ext cx="3998354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580" y="3200329"/>
            <a:ext cx="401853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82" name="Group 4">
            <a:extLst>
              <a:ext uri="{FF2B5EF4-FFF2-40B4-BE49-F238E27FC236}">
                <a16:creationId xmlns:a16="http://schemas.microsoft.com/office/drawing/2014/main" id="{A63454B3-EB4E-450A-98AA-6B5943D8973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C4ED221A-C963-42C0-91ED-C597F6BDA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7956D1CB-5F24-4766-80AE-D75515383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4038029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2490" y="5709060"/>
            <a:ext cx="8117873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744" y="5605201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2490" y="6019189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2490" y="6216807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743" y="5914642"/>
            <a:ext cx="5757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742867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388" y="2158329"/>
            <a:ext cx="3998354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580" y="3200329"/>
            <a:ext cx="401853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112" y="876059"/>
            <a:ext cx="4852768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12754344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388" y="2158329"/>
            <a:ext cx="478139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4580" y="3200329"/>
            <a:ext cx="480552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112" y="723658"/>
            <a:ext cx="5677988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112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294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359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38863733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102" y="1488927"/>
            <a:ext cx="2337171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083" y="2526765"/>
            <a:ext cx="5289245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083" y="4632765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083" y="4971442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7911156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40575456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7616505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394619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Y-P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7D65519-8319-4E70-8AA6-FFACCAFF44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7D65519-8319-4E70-8AA6-FFACCAFF44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ction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587589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3BA00A-6ABB-409E-BBE7-F04C650CB4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5817099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3BA00A-6ABB-409E-BBE7-F04C650CB4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7" noProof="0" dirty="0">
              <a:solidFill>
                <a:schemeClr val="bg1"/>
              </a:solidFill>
              <a:latin typeface="EYInterstate Light" panose="02000506000000020004" pitchFamily="2" charset="0"/>
              <a:sym typeface="EYInterstate Light" panose="02000506000000020004" pitchFamily="2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23E1056-4F32-46CE-95DB-FBB6CE8F0E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EYInterstate Light" panose="02000506000000020004" pitchFamily="2" charset="0"/>
                <a:sym typeface="EYInterstate Light" panose="0200050600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001383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72101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79E910-7CFE-41D0-BD32-A43268A790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283" y="1137920"/>
            <a:ext cx="10975022" cy="47561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15640761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Line 10">
            <a:extLst>
              <a:ext uri="{FF2B5EF4-FFF2-40B4-BE49-F238E27FC236}">
                <a16:creationId xmlns:a16="http://schemas.microsoft.com/office/drawing/2014/main" id="{E4F9A04A-BFB9-4B12-824B-4C04F6F9DEB1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3" y="952560"/>
            <a:ext cx="10972800" cy="0"/>
          </a:xfrm>
          <a:prstGeom prst="line">
            <a:avLst/>
          </a:prstGeom>
          <a:noFill/>
          <a:ln w="19050">
            <a:solidFill>
              <a:srgbClr val="FFE60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2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6E041C6F-7151-4784-82E4-013D2ECB134B}"/>
              </a:ext>
            </a:extLst>
          </p:cNvPr>
          <p:cNvSpPr txBox="1">
            <a:spLocks/>
          </p:cNvSpPr>
          <p:nvPr userDrawn="1"/>
        </p:nvSpPr>
        <p:spPr>
          <a:xfrm>
            <a:off x="609284" y="6530236"/>
            <a:ext cx="662721" cy="180000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" panose="02000503020000020004" pitchFamily="2" charset="0"/>
              </a:rPr>
              <a:t>Page </a:t>
            </a:r>
            <a:fld id="{D5B76411-544C-4F9A-8EDE-9EEB2BD21F95}" type="slidenum">
              <a:rPr kumimoji="0" lang="en-IN" sz="800" b="0" i="0" u="none" strike="noStrike" kern="0" cap="none" spc="0" normalizeH="0" baseline="0" noProof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" panose="02000503020000020004" pitchFamily="2" charset="0"/>
              </a:rPr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79821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"/>
          <p:cNvSpPr>
            <a:spLocks noChangeAspect="1"/>
          </p:cNvSpPr>
          <p:nvPr userDrawn="1"/>
        </p:nvSpPr>
        <p:spPr>
          <a:xfrm>
            <a:off x="3851958" y="615950"/>
            <a:ext cx="7731797" cy="3575304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  <a:gd name="connsiteX0" fmla="*/ 3182 w 6753225"/>
              <a:gd name="connsiteY0" fmla="*/ 1312615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3182 w 6753225"/>
              <a:gd name="connsiteY4" fmla="*/ 1312615 h 3400425"/>
              <a:gd name="connsiteX0" fmla="*/ 3182 w 6753225"/>
              <a:gd name="connsiteY0" fmla="*/ 67426 h 2155236"/>
              <a:gd name="connsiteX1" fmla="*/ 6619689 w 6753225"/>
              <a:gd name="connsiteY1" fmla="*/ 0 h 2155236"/>
              <a:gd name="connsiteX2" fmla="*/ 6753225 w 6753225"/>
              <a:gd name="connsiteY2" fmla="*/ 2155236 h 2155236"/>
              <a:gd name="connsiteX3" fmla="*/ 0 w 6753225"/>
              <a:gd name="connsiteY3" fmla="*/ 2155236 h 2155236"/>
              <a:gd name="connsiteX4" fmla="*/ 3182 w 6753225"/>
              <a:gd name="connsiteY4" fmla="*/ 67426 h 2155236"/>
              <a:gd name="connsiteX0" fmla="*/ 3182 w 6769917"/>
              <a:gd name="connsiteY0" fmla="*/ 1306570 h 3394380"/>
              <a:gd name="connsiteX1" fmla="*/ 6769917 w 6769917"/>
              <a:gd name="connsiteY1" fmla="*/ 0 h 3394380"/>
              <a:gd name="connsiteX2" fmla="*/ 6753225 w 6769917"/>
              <a:gd name="connsiteY2" fmla="*/ 3394380 h 3394380"/>
              <a:gd name="connsiteX3" fmla="*/ 0 w 6769917"/>
              <a:gd name="connsiteY3" fmla="*/ 3394380 h 3394380"/>
              <a:gd name="connsiteX4" fmla="*/ 3182 w 6769917"/>
              <a:gd name="connsiteY4" fmla="*/ 1306570 h 3394380"/>
              <a:gd name="connsiteX0" fmla="*/ 223 w 6771131"/>
              <a:gd name="connsiteY0" fmla="*/ 1297504 h 3394380"/>
              <a:gd name="connsiteX1" fmla="*/ 6771131 w 6771131"/>
              <a:gd name="connsiteY1" fmla="*/ 0 h 3394380"/>
              <a:gd name="connsiteX2" fmla="*/ 6754439 w 6771131"/>
              <a:gd name="connsiteY2" fmla="*/ 3394380 h 3394380"/>
              <a:gd name="connsiteX3" fmla="*/ 1214 w 6771131"/>
              <a:gd name="connsiteY3" fmla="*/ 3394380 h 3394380"/>
              <a:gd name="connsiteX4" fmla="*/ 223 w 6771131"/>
              <a:gd name="connsiteY4" fmla="*/ 1297504 h 3394380"/>
              <a:gd name="connsiteX0" fmla="*/ 105 w 6775185"/>
              <a:gd name="connsiteY0" fmla="*/ 1297505 h 3394380"/>
              <a:gd name="connsiteX1" fmla="*/ 6775185 w 6775185"/>
              <a:gd name="connsiteY1" fmla="*/ 0 h 3394380"/>
              <a:gd name="connsiteX2" fmla="*/ 6758493 w 6775185"/>
              <a:gd name="connsiteY2" fmla="*/ 3394380 h 3394380"/>
              <a:gd name="connsiteX3" fmla="*/ 5268 w 6775185"/>
              <a:gd name="connsiteY3" fmla="*/ 3394380 h 3394380"/>
              <a:gd name="connsiteX4" fmla="*/ 105 w 6775185"/>
              <a:gd name="connsiteY4" fmla="*/ 1297505 h 3394380"/>
              <a:gd name="connsiteX0" fmla="*/ 105 w 6775185"/>
              <a:gd name="connsiteY0" fmla="*/ 1297505 h 3394380"/>
              <a:gd name="connsiteX1" fmla="*/ 6775185 w 6775185"/>
              <a:gd name="connsiteY1" fmla="*/ 0 h 3394380"/>
              <a:gd name="connsiteX2" fmla="*/ 6769621 w 6775185"/>
              <a:gd name="connsiteY2" fmla="*/ 3394380 h 3394380"/>
              <a:gd name="connsiteX3" fmla="*/ 5268 w 6775185"/>
              <a:gd name="connsiteY3" fmla="*/ 3394380 h 3394380"/>
              <a:gd name="connsiteX4" fmla="*/ 105 w 6775185"/>
              <a:gd name="connsiteY4" fmla="*/ 1297505 h 3394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75185" h="3394380">
                <a:moveTo>
                  <a:pt x="105" y="1297505"/>
                </a:moveTo>
                <a:lnTo>
                  <a:pt x="6775185" y="0"/>
                </a:lnTo>
                <a:cubicBezTo>
                  <a:pt x="6773330" y="1131460"/>
                  <a:pt x="6771476" y="2262920"/>
                  <a:pt x="6769621" y="3394380"/>
                </a:cubicBezTo>
                <a:lnTo>
                  <a:pt x="5268" y="3394380"/>
                </a:lnTo>
                <a:cubicBezTo>
                  <a:pt x="6329" y="2698443"/>
                  <a:pt x="-956" y="1993442"/>
                  <a:pt x="105" y="129750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8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4149215" y="2240280"/>
            <a:ext cx="722000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149215" y="3218688"/>
            <a:ext cx="7220000" cy="645742"/>
          </a:xfrm>
        </p:spPr>
        <p:txBody>
          <a:bodyPr/>
          <a:lstStyle>
            <a:lvl1pPr marL="0" indent="0" algn="l">
              <a:buNone/>
              <a:defRPr sz="1998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598">
                <a:solidFill>
                  <a:srgbClr val="404040"/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grpSp>
        <p:nvGrpSpPr>
          <p:cNvPr id="3" name="Group 4"/>
          <p:cNvGrpSpPr>
            <a:grpSpLocks noChangeAspect="1"/>
          </p:cNvGrpSpPr>
          <p:nvPr userDrawn="1"/>
        </p:nvGrpSpPr>
        <p:grpSpPr bwMode="auto">
          <a:xfrm>
            <a:off x="10576768" y="5338766"/>
            <a:ext cx="986911" cy="1157287"/>
            <a:chOff x="6666" y="3363"/>
            <a:chExt cx="622" cy="729"/>
          </a:xfrm>
        </p:grpSpPr>
        <p:sp>
          <p:nvSpPr>
            <p:cNvPr id="4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6666" y="3363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>
                <a:solidFill>
                  <a:srgbClr val="000000"/>
                </a:solidFill>
              </a:endParaRPr>
            </a:p>
          </p:txBody>
        </p:sp>
        <p:sp>
          <p:nvSpPr>
            <p:cNvPr id="5" name="Freeform 5"/>
            <p:cNvSpPr>
              <a:spLocks/>
            </p:cNvSpPr>
            <p:nvPr userDrawn="1"/>
          </p:nvSpPr>
          <p:spPr bwMode="auto">
            <a:xfrm>
              <a:off x="6666" y="3363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>
                <a:solidFill>
                  <a:srgbClr val="000000"/>
                </a:solidFill>
              </a:endParaRPr>
            </a:p>
          </p:txBody>
        </p:sp>
        <p:sp>
          <p:nvSpPr>
            <p:cNvPr id="6" name="Freeform 6"/>
            <p:cNvSpPr>
              <a:spLocks noEditPoints="1"/>
            </p:cNvSpPr>
            <p:nvPr userDrawn="1"/>
          </p:nvSpPr>
          <p:spPr bwMode="auto">
            <a:xfrm>
              <a:off x="6666" y="3621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41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62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62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8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8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65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41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51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526567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/>
          <p:cNvSpPr>
            <a:spLocks noChangeAspect="1"/>
          </p:cNvSpPr>
          <p:nvPr userDrawn="1"/>
        </p:nvSpPr>
        <p:spPr bwMode="gray">
          <a:xfrm rot="10800000">
            <a:off x="4368557" y="457203"/>
            <a:ext cx="7217664" cy="4570413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endParaRPr lang="en-GB" sz="1798" dirty="0">
              <a:solidFill>
                <a:srgbClr val="000000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4807240" y="1737360"/>
            <a:ext cx="6397468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807240" y="2724912"/>
            <a:ext cx="6397468" cy="645742"/>
          </a:xfrm>
        </p:spPr>
        <p:txBody>
          <a:bodyPr/>
          <a:lstStyle>
            <a:lvl1pPr marL="0" indent="0" algn="l">
              <a:buNone/>
              <a:defRPr sz="1998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598">
                <a:solidFill>
                  <a:srgbClr val="404040"/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6168" y="5339038"/>
            <a:ext cx="987038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06987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0" y="1628778"/>
            <a:ext cx="12192000" cy="4469625"/>
            <a:chOff x="0" y="1628775"/>
            <a:chExt cx="12198350" cy="4469625"/>
          </a:xfrm>
        </p:grpSpPr>
        <p:sp>
          <p:nvSpPr>
            <p:cNvPr id="12" name="Freeform 8"/>
            <p:cNvSpPr>
              <a:spLocks/>
            </p:cNvSpPr>
            <p:nvPr userDrawn="1"/>
          </p:nvSpPr>
          <p:spPr bwMode="gray">
            <a:xfrm>
              <a:off x="3072661" y="1628775"/>
              <a:ext cx="9125689" cy="3318440"/>
            </a:xfrm>
            <a:custGeom>
              <a:avLst/>
              <a:gdLst/>
              <a:ahLst/>
              <a:cxnLst>
                <a:cxn ang="0">
                  <a:pos x="0" y="2464"/>
                </a:cxn>
                <a:cxn ang="0">
                  <a:pos x="6761" y="0"/>
                </a:cxn>
                <a:cxn ang="0">
                  <a:pos x="6761" y="1290"/>
                </a:cxn>
                <a:cxn ang="0">
                  <a:pos x="0" y="2464"/>
                </a:cxn>
              </a:cxnLst>
              <a:rect l="0" t="0" r="r" b="b"/>
              <a:pathLst>
                <a:path w="6761" h="2464">
                  <a:moveTo>
                    <a:pt x="0" y="2464"/>
                  </a:moveTo>
                  <a:lnTo>
                    <a:pt x="6761" y="0"/>
                  </a:lnTo>
                  <a:lnTo>
                    <a:pt x="6761" y="1290"/>
                  </a:lnTo>
                  <a:lnTo>
                    <a:pt x="0" y="2464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8" dirty="0">
                <a:solidFill>
                  <a:srgbClr val="646464"/>
                </a:solidFill>
              </a:endParaRPr>
            </a:p>
          </p:txBody>
        </p:sp>
        <p:pic>
          <p:nvPicPr>
            <p:cNvPr id="14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4291200"/>
              <a:ext cx="3078523" cy="1807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079926" y="777600"/>
            <a:ext cx="8504955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079924" y="1731938"/>
            <a:ext cx="6219714" cy="968400"/>
          </a:xfrm>
        </p:spPr>
        <p:txBody>
          <a:bodyPr/>
          <a:lstStyle>
            <a:lvl1pPr marL="0" indent="0" algn="l">
              <a:buNone/>
              <a:defRPr sz="1998">
                <a:solidFill>
                  <a:schemeClr val="bg1"/>
                </a:solidFill>
              </a:defRPr>
            </a:lvl1pPr>
            <a:lvl2pPr marL="0" indent="0" algn="l">
              <a:buNone/>
              <a:defRPr sz="1598">
                <a:solidFill>
                  <a:schemeClr val="bg1"/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9924" y="5751576"/>
            <a:ext cx="988638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81856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36259" y="1280160"/>
            <a:ext cx="8546142" cy="484545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649828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004969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2pPr marL="356260">
              <a:defRPr/>
            </a:lvl2pPr>
            <a:lvl3pPr marL="712519">
              <a:defRPr/>
            </a:lvl3pPr>
            <a:lvl4pPr marL="1068778">
              <a:defRPr/>
            </a:lvl4pPr>
            <a:lvl5pPr marL="1425038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91549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524677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13615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8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79515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22454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, no line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471377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36260" y="1249682"/>
            <a:ext cx="4186861" cy="4876485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  <a:lvl2pPr>
              <a:defRPr sz="2398">
                <a:solidFill>
                  <a:schemeClr val="bg1"/>
                </a:solidFill>
              </a:defRPr>
            </a:lvl2pPr>
            <a:lvl3pPr>
              <a:defRPr sz="1998">
                <a:solidFill>
                  <a:schemeClr val="bg1"/>
                </a:solidFill>
              </a:defRPr>
            </a:lvl3pPr>
            <a:lvl4pPr>
              <a:defRPr sz="1798">
                <a:solidFill>
                  <a:schemeClr val="bg1"/>
                </a:solidFill>
              </a:defRPr>
            </a:lvl4pPr>
            <a:lvl5pPr>
              <a:defRPr sz="1798">
                <a:solidFill>
                  <a:schemeClr val="bg1"/>
                </a:solidFill>
              </a:defRPr>
            </a:lvl5pPr>
            <a:lvl6pPr>
              <a:defRPr sz="1798"/>
            </a:lvl6pPr>
            <a:lvl7pPr>
              <a:defRPr sz="1798"/>
            </a:lvl7pPr>
            <a:lvl8pPr>
              <a:defRPr sz="1798"/>
            </a:lvl8pPr>
            <a:lvl9pPr>
              <a:defRPr sz="179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95539" y="1249682"/>
            <a:ext cx="4186861" cy="4876485"/>
          </a:xfrm>
        </p:spPr>
        <p:txBody>
          <a:bodyPr/>
          <a:lstStyle>
            <a:lvl1pPr marL="356260" indent="-356260" algn="l" defTabSz="913486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2398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2519" indent="-356260" algn="l" defTabSz="913486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2398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8778" indent="-356260" algn="l" defTabSz="913486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1998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5038" indent="-356260" algn="l" defTabSz="913486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1798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1297" indent="-356260" algn="l" defTabSz="913486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GB" sz="1798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sz="1798"/>
            </a:lvl6pPr>
            <a:lvl7pPr>
              <a:defRPr sz="1798"/>
            </a:lvl7pPr>
            <a:lvl8pPr>
              <a:defRPr sz="1798"/>
            </a:lvl8pPr>
            <a:lvl9pPr>
              <a:defRPr sz="179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52968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36260" y="2130551"/>
            <a:ext cx="4225655" cy="3995928"/>
          </a:xfrm>
        </p:spPr>
        <p:txBody>
          <a:bodyPr/>
          <a:lstStyle>
            <a:lvl1pPr>
              <a:defRPr sz="2398"/>
            </a:lvl1pPr>
            <a:lvl2pPr>
              <a:defRPr sz="2398"/>
            </a:lvl2pPr>
            <a:lvl3pPr marL="1080007" indent="-356830">
              <a:defRPr sz="1998"/>
            </a:lvl3pPr>
            <a:lvl4pPr>
              <a:defRPr sz="1798"/>
            </a:lvl4pPr>
            <a:lvl5pPr>
              <a:defRPr sz="1798"/>
            </a:lvl5pPr>
            <a:lvl6pPr>
              <a:defRPr sz="1798"/>
            </a:lvl6pPr>
            <a:lvl7pPr>
              <a:defRPr sz="1798"/>
            </a:lvl7pPr>
            <a:lvl8pPr>
              <a:defRPr sz="1798"/>
            </a:lvl8pPr>
            <a:lvl9pPr>
              <a:defRPr sz="179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1150" y="2130551"/>
            <a:ext cx="4225655" cy="3995928"/>
          </a:xfrm>
        </p:spPr>
        <p:txBody>
          <a:bodyPr/>
          <a:lstStyle>
            <a:lvl1pPr>
              <a:defRPr sz="2398"/>
            </a:lvl1pPr>
            <a:lvl2pPr>
              <a:defRPr sz="2398"/>
            </a:lvl2pPr>
            <a:lvl3pPr>
              <a:defRPr sz="1998"/>
            </a:lvl3pPr>
            <a:lvl4pPr>
              <a:defRPr sz="1798"/>
            </a:lvl4pPr>
            <a:lvl5pPr>
              <a:defRPr sz="1798"/>
            </a:lvl5pPr>
            <a:lvl6pPr>
              <a:defRPr sz="1798"/>
            </a:lvl6pPr>
            <a:lvl7pPr>
              <a:defRPr sz="1798"/>
            </a:lvl7pPr>
            <a:lvl8pPr>
              <a:defRPr sz="1798"/>
            </a:lvl8pPr>
            <a:lvl9pPr>
              <a:defRPr sz="1798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036260" y="1376344"/>
            <a:ext cx="4225655" cy="640800"/>
          </a:xfrm>
        </p:spPr>
        <p:txBody>
          <a:bodyPr anchor="t" anchorCtr="0"/>
          <a:lstStyle>
            <a:lvl1pPr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361150" y="1376344"/>
            <a:ext cx="4225655" cy="640800"/>
          </a:xfrm>
        </p:spPr>
        <p:txBody>
          <a:bodyPr anchor="t" anchorCtr="0"/>
          <a:lstStyle>
            <a:lvl1pPr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046414" y="431520"/>
            <a:ext cx="8535986" cy="4309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237700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83938" y="1025527"/>
            <a:ext cx="8696348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4996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96782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23835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368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8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6037" indent="-176037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8725" indent="-188725" algn="l" defTabSz="994368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4071264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8" dirty="0">
              <a:solidFill>
                <a:srgbClr val="000000"/>
              </a:solidFill>
            </a:endParaRPr>
          </a:p>
        </p:txBody>
      </p:sp>
      <p:sp>
        <p:nvSpPr>
          <p:cNvPr id="3" name="Freeform 40"/>
          <p:cNvSpPr>
            <a:spLocks noEditPoints="1"/>
          </p:cNvSpPr>
          <p:nvPr userDrawn="1"/>
        </p:nvSpPr>
        <p:spPr bwMode="auto">
          <a:xfrm>
            <a:off x="1375778" y="5168551"/>
            <a:ext cx="1896556" cy="1903366"/>
          </a:xfrm>
          <a:custGeom>
            <a:avLst/>
            <a:gdLst>
              <a:gd name="T0" fmla="*/ 60 w 273"/>
              <a:gd name="T1" fmla="*/ 49 h 274"/>
              <a:gd name="T2" fmla="*/ 34 w 273"/>
              <a:gd name="T3" fmla="*/ 47 h 274"/>
              <a:gd name="T4" fmla="*/ 35 w 273"/>
              <a:gd name="T5" fmla="*/ 62 h 274"/>
              <a:gd name="T6" fmla="*/ 22 w 273"/>
              <a:gd name="T7" fmla="*/ 77 h 274"/>
              <a:gd name="T8" fmla="*/ 14 w 273"/>
              <a:gd name="T9" fmla="*/ 92 h 274"/>
              <a:gd name="T10" fmla="*/ 18 w 273"/>
              <a:gd name="T11" fmla="*/ 114 h 274"/>
              <a:gd name="T12" fmla="*/ 1 w 273"/>
              <a:gd name="T13" fmla="*/ 122 h 274"/>
              <a:gd name="T14" fmla="*/ 20 w 273"/>
              <a:gd name="T15" fmla="*/ 139 h 274"/>
              <a:gd name="T16" fmla="*/ 1 w 273"/>
              <a:gd name="T17" fmla="*/ 155 h 274"/>
              <a:gd name="T18" fmla="*/ 13 w 273"/>
              <a:gd name="T19" fmla="*/ 165 h 274"/>
              <a:gd name="T20" fmla="*/ 18 w 273"/>
              <a:gd name="T21" fmla="*/ 184 h 274"/>
              <a:gd name="T22" fmla="*/ 14 w 273"/>
              <a:gd name="T23" fmla="*/ 198 h 274"/>
              <a:gd name="T24" fmla="*/ 39 w 273"/>
              <a:gd name="T25" fmla="*/ 202 h 274"/>
              <a:gd name="T26" fmla="*/ 34 w 273"/>
              <a:gd name="T27" fmla="*/ 217 h 274"/>
              <a:gd name="T28" fmla="*/ 45 w 273"/>
              <a:gd name="T29" fmla="*/ 230 h 274"/>
              <a:gd name="T30" fmla="*/ 62 w 273"/>
              <a:gd name="T31" fmla="*/ 240 h 274"/>
              <a:gd name="T32" fmla="*/ 66 w 273"/>
              <a:gd name="T33" fmla="*/ 255 h 274"/>
              <a:gd name="T34" fmla="*/ 89 w 273"/>
              <a:gd name="T35" fmla="*/ 244 h 274"/>
              <a:gd name="T36" fmla="*/ 93 w 273"/>
              <a:gd name="T37" fmla="*/ 260 h 274"/>
              <a:gd name="T38" fmla="*/ 110 w 273"/>
              <a:gd name="T39" fmla="*/ 265 h 274"/>
              <a:gd name="T40" fmla="*/ 130 w 273"/>
              <a:gd name="T41" fmla="*/ 265 h 274"/>
              <a:gd name="T42" fmla="*/ 141 w 273"/>
              <a:gd name="T43" fmla="*/ 274 h 274"/>
              <a:gd name="T44" fmla="*/ 155 w 273"/>
              <a:gd name="T45" fmla="*/ 253 h 274"/>
              <a:gd name="T46" fmla="*/ 166 w 273"/>
              <a:gd name="T47" fmla="*/ 264 h 274"/>
              <a:gd name="T48" fmla="*/ 183 w 273"/>
              <a:gd name="T49" fmla="*/ 259 h 274"/>
              <a:gd name="T50" fmla="*/ 199 w 273"/>
              <a:gd name="T51" fmla="*/ 248 h 274"/>
              <a:gd name="T52" fmla="*/ 209 w 273"/>
              <a:gd name="T53" fmla="*/ 253 h 274"/>
              <a:gd name="T54" fmla="*/ 213 w 273"/>
              <a:gd name="T55" fmla="*/ 239 h 274"/>
              <a:gd name="T56" fmla="*/ 230 w 273"/>
              <a:gd name="T57" fmla="*/ 228 h 274"/>
              <a:gd name="T58" fmla="*/ 241 w 273"/>
              <a:gd name="T59" fmla="*/ 215 h 274"/>
              <a:gd name="T60" fmla="*/ 249 w 273"/>
              <a:gd name="T61" fmla="*/ 197 h 274"/>
              <a:gd name="T62" fmla="*/ 263 w 273"/>
              <a:gd name="T63" fmla="*/ 191 h 274"/>
              <a:gd name="T64" fmla="*/ 249 w 273"/>
              <a:gd name="T65" fmla="*/ 169 h 274"/>
              <a:gd name="T66" fmla="*/ 272 w 273"/>
              <a:gd name="T67" fmla="*/ 158 h 274"/>
              <a:gd name="T68" fmla="*/ 264 w 273"/>
              <a:gd name="T69" fmla="*/ 146 h 274"/>
              <a:gd name="T70" fmla="*/ 266 w 273"/>
              <a:gd name="T71" fmla="*/ 126 h 274"/>
              <a:gd name="T72" fmla="*/ 264 w 273"/>
              <a:gd name="T73" fmla="*/ 109 h 274"/>
              <a:gd name="T74" fmla="*/ 255 w 273"/>
              <a:gd name="T75" fmla="*/ 91 h 274"/>
              <a:gd name="T76" fmla="*/ 260 w 273"/>
              <a:gd name="T77" fmla="*/ 77 h 274"/>
              <a:gd name="T78" fmla="*/ 234 w 273"/>
              <a:gd name="T79" fmla="*/ 73 h 274"/>
              <a:gd name="T80" fmla="*/ 241 w 273"/>
              <a:gd name="T81" fmla="*/ 49 h 274"/>
              <a:gd name="T82" fmla="*/ 226 w 273"/>
              <a:gd name="T83" fmla="*/ 47 h 274"/>
              <a:gd name="T84" fmla="*/ 213 w 273"/>
              <a:gd name="T85" fmla="*/ 32 h 274"/>
              <a:gd name="T86" fmla="*/ 199 w 273"/>
              <a:gd name="T87" fmla="*/ 23 h 274"/>
              <a:gd name="T88" fmla="*/ 179 w 273"/>
              <a:gd name="T89" fmla="*/ 17 h 274"/>
              <a:gd name="T90" fmla="*/ 171 w 273"/>
              <a:gd name="T91" fmla="*/ 5 h 274"/>
              <a:gd name="T92" fmla="*/ 154 w 273"/>
              <a:gd name="T93" fmla="*/ 22 h 274"/>
              <a:gd name="T94" fmla="*/ 138 w 273"/>
              <a:gd name="T95" fmla="*/ 0 h 274"/>
              <a:gd name="T96" fmla="*/ 127 w 273"/>
              <a:gd name="T97" fmla="*/ 11 h 274"/>
              <a:gd name="T98" fmla="*/ 107 w 273"/>
              <a:gd name="T99" fmla="*/ 11 h 274"/>
              <a:gd name="T100" fmla="*/ 91 w 273"/>
              <a:gd name="T101" fmla="*/ 16 h 274"/>
              <a:gd name="T102" fmla="*/ 74 w 273"/>
              <a:gd name="T103" fmla="*/ 26 h 274"/>
              <a:gd name="T104" fmla="*/ 64 w 273"/>
              <a:gd name="T105" fmla="*/ 21 h 274"/>
              <a:gd name="T106" fmla="*/ 163 w 273"/>
              <a:gd name="T107" fmla="*/ 166 h 274"/>
              <a:gd name="T108" fmla="*/ 152 w 273"/>
              <a:gd name="T109" fmla="*/ 163 h 274"/>
              <a:gd name="T110" fmla="*/ 99 w 273"/>
              <a:gd name="T111" fmla="*/ 151 h 274"/>
              <a:gd name="T112" fmla="*/ 97 w 273"/>
              <a:gd name="T113" fmla="*/ 162 h 274"/>
              <a:gd name="T114" fmla="*/ 162 w 273"/>
              <a:gd name="T115" fmla="*/ 123 h 274"/>
              <a:gd name="T116" fmla="*/ 155 w 273"/>
              <a:gd name="T117" fmla="*/ 126 h 274"/>
              <a:gd name="T118" fmla="*/ 125 w 273"/>
              <a:gd name="T119" fmla="*/ 119 h 274"/>
              <a:gd name="T120" fmla="*/ 121 w 273"/>
              <a:gd name="T121" fmla="*/ 113 h 274"/>
              <a:gd name="T122" fmla="*/ 123 w 273"/>
              <a:gd name="T123" fmla="*/ 101 h 2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73" h="274">
                <a:moveTo>
                  <a:pt x="58" y="33"/>
                </a:moveTo>
                <a:cubicBezTo>
                  <a:pt x="60" y="36"/>
                  <a:pt x="60" y="36"/>
                  <a:pt x="60" y="36"/>
                </a:cubicBezTo>
                <a:cubicBezTo>
                  <a:pt x="63" y="39"/>
                  <a:pt x="63" y="45"/>
                  <a:pt x="60" y="49"/>
                </a:cubicBezTo>
                <a:cubicBezTo>
                  <a:pt x="56" y="53"/>
                  <a:pt x="49" y="53"/>
                  <a:pt x="45" y="49"/>
                </a:cubicBezTo>
                <a:cubicBezTo>
                  <a:pt x="43" y="47"/>
                  <a:pt x="43" y="47"/>
                  <a:pt x="43" y="47"/>
                </a:cubicBezTo>
                <a:cubicBezTo>
                  <a:pt x="41" y="44"/>
                  <a:pt x="37" y="44"/>
                  <a:pt x="34" y="47"/>
                </a:cubicBezTo>
                <a:cubicBezTo>
                  <a:pt x="33" y="48"/>
                  <a:pt x="32" y="49"/>
                  <a:pt x="31" y="51"/>
                </a:cubicBezTo>
                <a:cubicBezTo>
                  <a:pt x="28" y="54"/>
                  <a:pt x="29" y="58"/>
                  <a:pt x="32" y="60"/>
                </a:cubicBezTo>
                <a:cubicBezTo>
                  <a:pt x="35" y="62"/>
                  <a:pt x="35" y="62"/>
                  <a:pt x="35" y="62"/>
                </a:cubicBezTo>
                <a:cubicBezTo>
                  <a:pt x="39" y="64"/>
                  <a:pt x="40" y="69"/>
                  <a:pt x="38" y="74"/>
                </a:cubicBezTo>
                <a:cubicBezTo>
                  <a:pt x="36" y="79"/>
                  <a:pt x="29" y="81"/>
                  <a:pt x="24" y="78"/>
                </a:cubicBezTo>
                <a:cubicBezTo>
                  <a:pt x="22" y="77"/>
                  <a:pt x="22" y="77"/>
                  <a:pt x="22" y="77"/>
                </a:cubicBezTo>
                <a:cubicBezTo>
                  <a:pt x="19" y="75"/>
                  <a:pt x="14" y="76"/>
                  <a:pt x="13" y="79"/>
                </a:cubicBezTo>
                <a:cubicBezTo>
                  <a:pt x="12" y="81"/>
                  <a:pt x="11" y="82"/>
                  <a:pt x="10" y="84"/>
                </a:cubicBezTo>
                <a:cubicBezTo>
                  <a:pt x="9" y="88"/>
                  <a:pt x="11" y="91"/>
                  <a:pt x="14" y="92"/>
                </a:cubicBezTo>
                <a:cubicBezTo>
                  <a:pt x="18" y="93"/>
                  <a:pt x="18" y="93"/>
                  <a:pt x="18" y="93"/>
                </a:cubicBezTo>
                <a:cubicBezTo>
                  <a:pt x="23" y="95"/>
                  <a:pt x="26" y="101"/>
                  <a:pt x="24" y="106"/>
                </a:cubicBezTo>
                <a:cubicBezTo>
                  <a:pt x="27" y="110"/>
                  <a:pt x="23" y="116"/>
                  <a:pt x="18" y="114"/>
                </a:cubicBezTo>
                <a:cubicBezTo>
                  <a:pt x="9" y="111"/>
                  <a:pt x="9" y="111"/>
                  <a:pt x="9" y="111"/>
                </a:cubicBezTo>
                <a:cubicBezTo>
                  <a:pt x="6" y="110"/>
                  <a:pt x="2" y="113"/>
                  <a:pt x="1" y="116"/>
                </a:cubicBezTo>
                <a:cubicBezTo>
                  <a:pt x="1" y="118"/>
                  <a:pt x="1" y="120"/>
                  <a:pt x="1" y="122"/>
                </a:cubicBezTo>
                <a:cubicBezTo>
                  <a:pt x="0" y="125"/>
                  <a:pt x="3" y="129"/>
                  <a:pt x="7" y="129"/>
                </a:cubicBezTo>
                <a:cubicBezTo>
                  <a:pt x="10" y="129"/>
                  <a:pt x="10" y="129"/>
                  <a:pt x="10" y="129"/>
                </a:cubicBezTo>
                <a:cubicBezTo>
                  <a:pt x="15" y="129"/>
                  <a:pt x="20" y="133"/>
                  <a:pt x="20" y="139"/>
                </a:cubicBezTo>
                <a:cubicBezTo>
                  <a:pt x="20" y="144"/>
                  <a:pt x="15" y="148"/>
                  <a:pt x="10" y="148"/>
                </a:cubicBezTo>
                <a:cubicBezTo>
                  <a:pt x="7" y="148"/>
                  <a:pt x="7" y="148"/>
                  <a:pt x="7" y="148"/>
                </a:cubicBezTo>
                <a:cubicBezTo>
                  <a:pt x="3" y="148"/>
                  <a:pt x="0" y="152"/>
                  <a:pt x="1" y="155"/>
                </a:cubicBezTo>
                <a:cubicBezTo>
                  <a:pt x="1" y="157"/>
                  <a:pt x="1" y="159"/>
                  <a:pt x="2" y="161"/>
                </a:cubicBezTo>
                <a:cubicBezTo>
                  <a:pt x="2" y="164"/>
                  <a:pt x="6" y="167"/>
                  <a:pt x="9" y="166"/>
                </a:cubicBezTo>
                <a:cubicBezTo>
                  <a:pt x="13" y="165"/>
                  <a:pt x="13" y="165"/>
                  <a:pt x="13" y="165"/>
                </a:cubicBezTo>
                <a:cubicBezTo>
                  <a:pt x="18" y="163"/>
                  <a:pt x="23" y="166"/>
                  <a:pt x="25" y="172"/>
                </a:cubicBezTo>
                <a:cubicBezTo>
                  <a:pt x="25" y="172"/>
                  <a:pt x="25" y="172"/>
                  <a:pt x="25" y="172"/>
                </a:cubicBezTo>
                <a:cubicBezTo>
                  <a:pt x="26" y="177"/>
                  <a:pt x="23" y="182"/>
                  <a:pt x="18" y="184"/>
                </a:cubicBezTo>
                <a:cubicBezTo>
                  <a:pt x="15" y="184"/>
                  <a:pt x="15" y="184"/>
                  <a:pt x="15" y="184"/>
                </a:cubicBezTo>
                <a:cubicBezTo>
                  <a:pt x="12" y="185"/>
                  <a:pt x="10" y="189"/>
                  <a:pt x="11" y="193"/>
                </a:cubicBezTo>
                <a:cubicBezTo>
                  <a:pt x="12" y="195"/>
                  <a:pt x="13" y="196"/>
                  <a:pt x="14" y="198"/>
                </a:cubicBezTo>
                <a:cubicBezTo>
                  <a:pt x="15" y="201"/>
                  <a:pt x="20" y="202"/>
                  <a:pt x="23" y="200"/>
                </a:cubicBezTo>
                <a:cubicBezTo>
                  <a:pt x="25" y="199"/>
                  <a:pt x="25" y="199"/>
                  <a:pt x="25" y="199"/>
                </a:cubicBezTo>
                <a:cubicBezTo>
                  <a:pt x="30" y="196"/>
                  <a:pt x="36" y="197"/>
                  <a:pt x="39" y="202"/>
                </a:cubicBezTo>
                <a:cubicBezTo>
                  <a:pt x="39" y="202"/>
                  <a:pt x="39" y="202"/>
                  <a:pt x="39" y="202"/>
                </a:cubicBezTo>
                <a:cubicBezTo>
                  <a:pt x="42" y="206"/>
                  <a:pt x="40" y="212"/>
                  <a:pt x="36" y="215"/>
                </a:cubicBezTo>
                <a:cubicBezTo>
                  <a:pt x="34" y="217"/>
                  <a:pt x="34" y="217"/>
                  <a:pt x="34" y="217"/>
                </a:cubicBezTo>
                <a:cubicBezTo>
                  <a:pt x="30" y="219"/>
                  <a:pt x="30" y="223"/>
                  <a:pt x="32" y="226"/>
                </a:cubicBezTo>
                <a:cubicBezTo>
                  <a:pt x="33" y="227"/>
                  <a:pt x="35" y="229"/>
                  <a:pt x="36" y="230"/>
                </a:cubicBezTo>
                <a:cubicBezTo>
                  <a:pt x="38" y="233"/>
                  <a:pt x="43" y="233"/>
                  <a:pt x="45" y="230"/>
                </a:cubicBezTo>
                <a:cubicBezTo>
                  <a:pt x="47" y="228"/>
                  <a:pt x="47" y="228"/>
                  <a:pt x="47" y="228"/>
                </a:cubicBezTo>
                <a:cubicBezTo>
                  <a:pt x="50" y="224"/>
                  <a:pt x="56" y="223"/>
                  <a:pt x="60" y="226"/>
                </a:cubicBezTo>
                <a:cubicBezTo>
                  <a:pt x="65" y="229"/>
                  <a:pt x="66" y="236"/>
                  <a:pt x="62" y="240"/>
                </a:cubicBezTo>
                <a:cubicBezTo>
                  <a:pt x="60" y="243"/>
                  <a:pt x="60" y="243"/>
                  <a:pt x="60" y="243"/>
                </a:cubicBezTo>
                <a:cubicBezTo>
                  <a:pt x="58" y="245"/>
                  <a:pt x="58" y="250"/>
                  <a:pt x="61" y="252"/>
                </a:cubicBezTo>
                <a:cubicBezTo>
                  <a:pt x="63" y="253"/>
                  <a:pt x="64" y="254"/>
                  <a:pt x="66" y="255"/>
                </a:cubicBezTo>
                <a:cubicBezTo>
                  <a:pt x="69" y="257"/>
                  <a:pt x="73" y="255"/>
                  <a:pt x="75" y="252"/>
                </a:cubicBezTo>
                <a:cubicBezTo>
                  <a:pt x="76" y="249"/>
                  <a:pt x="76" y="249"/>
                  <a:pt x="76" y="249"/>
                </a:cubicBezTo>
                <a:cubicBezTo>
                  <a:pt x="79" y="244"/>
                  <a:pt x="84" y="242"/>
                  <a:pt x="89" y="244"/>
                </a:cubicBezTo>
                <a:cubicBezTo>
                  <a:pt x="89" y="244"/>
                  <a:pt x="89" y="244"/>
                  <a:pt x="89" y="244"/>
                </a:cubicBezTo>
                <a:cubicBezTo>
                  <a:pt x="94" y="247"/>
                  <a:pt x="96" y="252"/>
                  <a:pt x="94" y="257"/>
                </a:cubicBezTo>
                <a:cubicBezTo>
                  <a:pt x="93" y="260"/>
                  <a:pt x="93" y="260"/>
                  <a:pt x="93" y="260"/>
                </a:cubicBezTo>
                <a:cubicBezTo>
                  <a:pt x="91" y="263"/>
                  <a:pt x="93" y="267"/>
                  <a:pt x="97" y="268"/>
                </a:cubicBezTo>
                <a:cubicBezTo>
                  <a:pt x="98" y="269"/>
                  <a:pt x="100" y="269"/>
                  <a:pt x="102" y="270"/>
                </a:cubicBezTo>
                <a:cubicBezTo>
                  <a:pt x="105" y="271"/>
                  <a:pt x="109" y="268"/>
                  <a:pt x="110" y="265"/>
                </a:cubicBezTo>
                <a:cubicBezTo>
                  <a:pt x="110" y="262"/>
                  <a:pt x="110" y="262"/>
                  <a:pt x="110" y="262"/>
                </a:cubicBezTo>
                <a:cubicBezTo>
                  <a:pt x="111" y="256"/>
                  <a:pt x="116" y="252"/>
                  <a:pt x="121" y="253"/>
                </a:cubicBezTo>
                <a:cubicBezTo>
                  <a:pt x="127" y="254"/>
                  <a:pt x="130" y="259"/>
                  <a:pt x="130" y="265"/>
                </a:cubicBezTo>
                <a:cubicBezTo>
                  <a:pt x="129" y="267"/>
                  <a:pt x="129" y="267"/>
                  <a:pt x="129" y="267"/>
                </a:cubicBezTo>
                <a:cubicBezTo>
                  <a:pt x="129" y="271"/>
                  <a:pt x="131" y="274"/>
                  <a:pt x="135" y="274"/>
                </a:cubicBezTo>
                <a:cubicBezTo>
                  <a:pt x="137" y="274"/>
                  <a:pt x="139" y="274"/>
                  <a:pt x="141" y="274"/>
                </a:cubicBezTo>
                <a:cubicBezTo>
                  <a:pt x="144" y="274"/>
                  <a:pt x="147" y="271"/>
                  <a:pt x="147" y="267"/>
                </a:cubicBezTo>
                <a:cubicBezTo>
                  <a:pt x="146" y="264"/>
                  <a:pt x="146" y="264"/>
                  <a:pt x="146" y="264"/>
                </a:cubicBezTo>
                <a:cubicBezTo>
                  <a:pt x="145" y="259"/>
                  <a:pt x="149" y="254"/>
                  <a:pt x="155" y="253"/>
                </a:cubicBezTo>
                <a:cubicBezTo>
                  <a:pt x="155" y="253"/>
                  <a:pt x="155" y="253"/>
                  <a:pt x="155" y="253"/>
                </a:cubicBezTo>
                <a:cubicBezTo>
                  <a:pt x="160" y="252"/>
                  <a:pt x="165" y="256"/>
                  <a:pt x="166" y="261"/>
                </a:cubicBezTo>
                <a:cubicBezTo>
                  <a:pt x="166" y="264"/>
                  <a:pt x="166" y="264"/>
                  <a:pt x="166" y="264"/>
                </a:cubicBezTo>
                <a:cubicBezTo>
                  <a:pt x="167" y="268"/>
                  <a:pt x="170" y="270"/>
                  <a:pt x="174" y="269"/>
                </a:cubicBezTo>
                <a:cubicBezTo>
                  <a:pt x="176" y="269"/>
                  <a:pt x="177" y="268"/>
                  <a:pt x="179" y="268"/>
                </a:cubicBezTo>
                <a:cubicBezTo>
                  <a:pt x="183" y="266"/>
                  <a:pt x="184" y="263"/>
                  <a:pt x="183" y="259"/>
                </a:cubicBezTo>
                <a:cubicBezTo>
                  <a:pt x="181" y="256"/>
                  <a:pt x="181" y="256"/>
                  <a:pt x="181" y="256"/>
                </a:cubicBezTo>
                <a:cubicBezTo>
                  <a:pt x="179" y="251"/>
                  <a:pt x="182" y="245"/>
                  <a:pt x="186" y="243"/>
                </a:cubicBezTo>
                <a:cubicBezTo>
                  <a:pt x="191" y="241"/>
                  <a:pt x="197" y="243"/>
                  <a:pt x="199" y="248"/>
                </a:cubicBezTo>
                <a:cubicBezTo>
                  <a:pt x="201" y="251"/>
                  <a:pt x="201" y="251"/>
                  <a:pt x="201" y="251"/>
                </a:cubicBezTo>
                <a:cubicBezTo>
                  <a:pt x="202" y="254"/>
                  <a:pt x="206" y="255"/>
                  <a:pt x="209" y="253"/>
                </a:cubicBezTo>
                <a:cubicBezTo>
                  <a:pt x="209" y="253"/>
                  <a:pt x="209" y="253"/>
                  <a:pt x="209" y="253"/>
                </a:cubicBezTo>
                <a:cubicBezTo>
                  <a:pt x="211" y="252"/>
                  <a:pt x="213" y="251"/>
                  <a:pt x="214" y="250"/>
                </a:cubicBezTo>
                <a:cubicBezTo>
                  <a:pt x="217" y="248"/>
                  <a:pt x="218" y="244"/>
                  <a:pt x="215" y="241"/>
                </a:cubicBezTo>
                <a:cubicBezTo>
                  <a:pt x="213" y="239"/>
                  <a:pt x="213" y="239"/>
                  <a:pt x="213" y="239"/>
                </a:cubicBezTo>
                <a:cubicBezTo>
                  <a:pt x="210" y="235"/>
                  <a:pt x="210" y="228"/>
                  <a:pt x="214" y="225"/>
                </a:cubicBezTo>
                <a:cubicBezTo>
                  <a:pt x="218" y="221"/>
                  <a:pt x="225" y="222"/>
                  <a:pt x="228" y="226"/>
                </a:cubicBezTo>
                <a:cubicBezTo>
                  <a:pt x="230" y="228"/>
                  <a:pt x="230" y="228"/>
                  <a:pt x="230" y="228"/>
                </a:cubicBezTo>
                <a:cubicBezTo>
                  <a:pt x="232" y="231"/>
                  <a:pt x="237" y="231"/>
                  <a:pt x="239" y="228"/>
                </a:cubicBezTo>
                <a:cubicBezTo>
                  <a:pt x="240" y="227"/>
                  <a:pt x="242" y="225"/>
                  <a:pt x="243" y="224"/>
                </a:cubicBezTo>
                <a:cubicBezTo>
                  <a:pt x="245" y="221"/>
                  <a:pt x="244" y="217"/>
                  <a:pt x="241" y="215"/>
                </a:cubicBezTo>
                <a:cubicBezTo>
                  <a:pt x="239" y="213"/>
                  <a:pt x="239" y="213"/>
                  <a:pt x="239" y="213"/>
                </a:cubicBezTo>
                <a:cubicBezTo>
                  <a:pt x="234" y="210"/>
                  <a:pt x="233" y="204"/>
                  <a:pt x="236" y="199"/>
                </a:cubicBezTo>
                <a:cubicBezTo>
                  <a:pt x="239" y="195"/>
                  <a:pt x="245" y="194"/>
                  <a:pt x="249" y="197"/>
                </a:cubicBezTo>
                <a:cubicBezTo>
                  <a:pt x="252" y="198"/>
                  <a:pt x="252" y="198"/>
                  <a:pt x="252" y="198"/>
                </a:cubicBezTo>
                <a:cubicBezTo>
                  <a:pt x="255" y="200"/>
                  <a:pt x="259" y="199"/>
                  <a:pt x="261" y="196"/>
                </a:cubicBezTo>
                <a:cubicBezTo>
                  <a:pt x="261" y="194"/>
                  <a:pt x="262" y="192"/>
                  <a:pt x="263" y="191"/>
                </a:cubicBezTo>
                <a:cubicBezTo>
                  <a:pt x="264" y="187"/>
                  <a:pt x="262" y="183"/>
                  <a:pt x="259" y="182"/>
                </a:cubicBezTo>
                <a:cubicBezTo>
                  <a:pt x="256" y="181"/>
                  <a:pt x="256" y="181"/>
                  <a:pt x="256" y="181"/>
                </a:cubicBezTo>
                <a:cubicBezTo>
                  <a:pt x="251" y="180"/>
                  <a:pt x="248" y="174"/>
                  <a:pt x="249" y="169"/>
                </a:cubicBezTo>
                <a:cubicBezTo>
                  <a:pt x="246" y="165"/>
                  <a:pt x="251" y="159"/>
                  <a:pt x="256" y="161"/>
                </a:cubicBezTo>
                <a:cubicBezTo>
                  <a:pt x="264" y="163"/>
                  <a:pt x="264" y="163"/>
                  <a:pt x="264" y="163"/>
                </a:cubicBezTo>
                <a:cubicBezTo>
                  <a:pt x="268" y="164"/>
                  <a:pt x="271" y="162"/>
                  <a:pt x="272" y="158"/>
                </a:cubicBezTo>
                <a:cubicBezTo>
                  <a:pt x="272" y="157"/>
                  <a:pt x="272" y="155"/>
                  <a:pt x="273" y="153"/>
                </a:cubicBezTo>
                <a:cubicBezTo>
                  <a:pt x="273" y="149"/>
                  <a:pt x="270" y="146"/>
                  <a:pt x="267" y="146"/>
                </a:cubicBezTo>
                <a:cubicBezTo>
                  <a:pt x="264" y="146"/>
                  <a:pt x="264" y="146"/>
                  <a:pt x="264" y="146"/>
                </a:cubicBezTo>
                <a:cubicBezTo>
                  <a:pt x="259" y="146"/>
                  <a:pt x="254" y="143"/>
                  <a:pt x="254" y="138"/>
                </a:cubicBezTo>
                <a:cubicBezTo>
                  <a:pt x="253" y="132"/>
                  <a:pt x="258" y="126"/>
                  <a:pt x="264" y="126"/>
                </a:cubicBezTo>
                <a:cubicBezTo>
                  <a:pt x="266" y="126"/>
                  <a:pt x="266" y="126"/>
                  <a:pt x="266" y="126"/>
                </a:cubicBezTo>
                <a:cubicBezTo>
                  <a:pt x="270" y="126"/>
                  <a:pt x="273" y="123"/>
                  <a:pt x="272" y="119"/>
                </a:cubicBezTo>
                <a:cubicBezTo>
                  <a:pt x="272" y="118"/>
                  <a:pt x="272" y="116"/>
                  <a:pt x="272" y="114"/>
                </a:cubicBezTo>
                <a:cubicBezTo>
                  <a:pt x="271" y="110"/>
                  <a:pt x="267" y="108"/>
                  <a:pt x="264" y="109"/>
                </a:cubicBezTo>
                <a:cubicBezTo>
                  <a:pt x="261" y="110"/>
                  <a:pt x="261" y="110"/>
                  <a:pt x="261" y="110"/>
                </a:cubicBezTo>
                <a:cubicBezTo>
                  <a:pt x="256" y="111"/>
                  <a:pt x="251" y="109"/>
                  <a:pt x="249" y="105"/>
                </a:cubicBezTo>
                <a:cubicBezTo>
                  <a:pt x="246" y="99"/>
                  <a:pt x="249" y="93"/>
                  <a:pt x="255" y="91"/>
                </a:cubicBezTo>
                <a:cubicBezTo>
                  <a:pt x="258" y="90"/>
                  <a:pt x="258" y="90"/>
                  <a:pt x="258" y="90"/>
                </a:cubicBezTo>
                <a:cubicBezTo>
                  <a:pt x="261" y="89"/>
                  <a:pt x="263" y="85"/>
                  <a:pt x="262" y="82"/>
                </a:cubicBezTo>
                <a:cubicBezTo>
                  <a:pt x="261" y="80"/>
                  <a:pt x="260" y="79"/>
                  <a:pt x="260" y="77"/>
                </a:cubicBezTo>
                <a:cubicBezTo>
                  <a:pt x="258" y="74"/>
                  <a:pt x="254" y="72"/>
                  <a:pt x="251" y="74"/>
                </a:cubicBezTo>
                <a:cubicBezTo>
                  <a:pt x="248" y="76"/>
                  <a:pt x="248" y="76"/>
                  <a:pt x="248" y="76"/>
                </a:cubicBezTo>
                <a:cubicBezTo>
                  <a:pt x="243" y="79"/>
                  <a:pt x="237" y="78"/>
                  <a:pt x="234" y="73"/>
                </a:cubicBezTo>
                <a:cubicBezTo>
                  <a:pt x="231" y="68"/>
                  <a:pt x="233" y="62"/>
                  <a:pt x="237" y="59"/>
                </a:cubicBezTo>
                <a:cubicBezTo>
                  <a:pt x="240" y="58"/>
                  <a:pt x="240" y="58"/>
                  <a:pt x="240" y="58"/>
                </a:cubicBezTo>
                <a:cubicBezTo>
                  <a:pt x="243" y="56"/>
                  <a:pt x="244" y="52"/>
                  <a:pt x="241" y="49"/>
                </a:cubicBezTo>
                <a:cubicBezTo>
                  <a:pt x="240" y="47"/>
                  <a:pt x="239" y="46"/>
                  <a:pt x="237" y="45"/>
                </a:cubicBezTo>
                <a:cubicBezTo>
                  <a:pt x="235" y="42"/>
                  <a:pt x="231" y="42"/>
                  <a:pt x="228" y="45"/>
                </a:cubicBezTo>
                <a:cubicBezTo>
                  <a:pt x="226" y="47"/>
                  <a:pt x="226" y="47"/>
                  <a:pt x="226" y="47"/>
                </a:cubicBezTo>
                <a:cubicBezTo>
                  <a:pt x="223" y="51"/>
                  <a:pt x="218" y="52"/>
                  <a:pt x="214" y="49"/>
                </a:cubicBezTo>
                <a:cubicBezTo>
                  <a:pt x="208" y="46"/>
                  <a:pt x="207" y="39"/>
                  <a:pt x="211" y="34"/>
                </a:cubicBezTo>
                <a:cubicBezTo>
                  <a:pt x="213" y="32"/>
                  <a:pt x="213" y="32"/>
                  <a:pt x="213" y="32"/>
                </a:cubicBezTo>
                <a:cubicBezTo>
                  <a:pt x="216" y="29"/>
                  <a:pt x="215" y="25"/>
                  <a:pt x="212" y="23"/>
                </a:cubicBezTo>
                <a:cubicBezTo>
                  <a:pt x="210" y="22"/>
                  <a:pt x="209" y="21"/>
                  <a:pt x="207" y="20"/>
                </a:cubicBezTo>
                <a:cubicBezTo>
                  <a:pt x="204" y="18"/>
                  <a:pt x="200" y="19"/>
                  <a:pt x="199" y="23"/>
                </a:cubicBezTo>
                <a:cubicBezTo>
                  <a:pt x="197" y="25"/>
                  <a:pt x="197" y="25"/>
                  <a:pt x="197" y="25"/>
                </a:cubicBezTo>
                <a:cubicBezTo>
                  <a:pt x="195" y="30"/>
                  <a:pt x="190" y="32"/>
                  <a:pt x="186" y="31"/>
                </a:cubicBezTo>
                <a:cubicBezTo>
                  <a:pt x="180" y="29"/>
                  <a:pt x="177" y="23"/>
                  <a:pt x="179" y="17"/>
                </a:cubicBezTo>
                <a:cubicBezTo>
                  <a:pt x="180" y="15"/>
                  <a:pt x="180" y="15"/>
                  <a:pt x="180" y="15"/>
                </a:cubicBezTo>
                <a:cubicBezTo>
                  <a:pt x="182" y="12"/>
                  <a:pt x="180" y="8"/>
                  <a:pt x="177" y="6"/>
                </a:cubicBezTo>
                <a:cubicBezTo>
                  <a:pt x="175" y="6"/>
                  <a:pt x="173" y="5"/>
                  <a:pt x="171" y="5"/>
                </a:cubicBezTo>
                <a:cubicBezTo>
                  <a:pt x="168" y="4"/>
                  <a:pt x="164" y="6"/>
                  <a:pt x="164" y="10"/>
                </a:cubicBezTo>
                <a:cubicBezTo>
                  <a:pt x="163" y="13"/>
                  <a:pt x="163" y="13"/>
                  <a:pt x="163" y="13"/>
                </a:cubicBezTo>
                <a:cubicBezTo>
                  <a:pt x="163" y="18"/>
                  <a:pt x="159" y="21"/>
                  <a:pt x="154" y="22"/>
                </a:cubicBezTo>
                <a:cubicBezTo>
                  <a:pt x="147" y="22"/>
                  <a:pt x="143" y="16"/>
                  <a:pt x="144" y="10"/>
                </a:cubicBezTo>
                <a:cubicBezTo>
                  <a:pt x="144" y="8"/>
                  <a:pt x="144" y="8"/>
                  <a:pt x="144" y="8"/>
                </a:cubicBezTo>
                <a:cubicBezTo>
                  <a:pt x="145" y="4"/>
                  <a:pt x="142" y="0"/>
                  <a:pt x="138" y="0"/>
                </a:cubicBezTo>
                <a:cubicBezTo>
                  <a:pt x="136" y="0"/>
                  <a:pt x="135" y="0"/>
                  <a:pt x="133" y="0"/>
                </a:cubicBezTo>
                <a:cubicBezTo>
                  <a:pt x="129" y="1"/>
                  <a:pt x="126" y="4"/>
                  <a:pt x="127" y="7"/>
                </a:cubicBezTo>
                <a:cubicBezTo>
                  <a:pt x="127" y="11"/>
                  <a:pt x="127" y="11"/>
                  <a:pt x="127" y="11"/>
                </a:cubicBezTo>
                <a:cubicBezTo>
                  <a:pt x="128" y="16"/>
                  <a:pt x="124" y="21"/>
                  <a:pt x="119" y="22"/>
                </a:cubicBezTo>
                <a:cubicBezTo>
                  <a:pt x="114" y="25"/>
                  <a:pt x="109" y="22"/>
                  <a:pt x="108" y="17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7" y="7"/>
                  <a:pt x="103" y="5"/>
                  <a:pt x="100" y="6"/>
                </a:cubicBezTo>
                <a:cubicBezTo>
                  <a:pt x="98" y="6"/>
                  <a:pt x="96" y="7"/>
                  <a:pt x="94" y="7"/>
                </a:cubicBezTo>
                <a:cubicBezTo>
                  <a:pt x="91" y="8"/>
                  <a:pt x="89" y="12"/>
                  <a:pt x="91" y="16"/>
                </a:cubicBezTo>
                <a:cubicBezTo>
                  <a:pt x="92" y="19"/>
                  <a:pt x="92" y="19"/>
                  <a:pt x="92" y="19"/>
                </a:cubicBezTo>
                <a:cubicBezTo>
                  <a:pt x="94" y="24"/>
                  <a:pt x="91" y="31"/>
                  <a:pt x="85" y="32"/>
                </a:cubicBezTo>
                <a:cubicBezTo>
                  <a:pt x="81" y="33"/>
                  <a:pt x="76" y="31"/>
                  <a:pt x="74" y="26"/>
                </a:cubicBezTo>
                <a:cubicBezTo>
                  <a:pt x="73" y="24"/>
                  <a:pt x="73" y="24"/>
                  <a:pt x="73" y="24"/>
                </a:cubicBezTo>
                <a:cubicBezTo>
                  <a:pt x="71" y="21"/>
                  <a:pt x="67" y="19"/>
                  <a:pt x="64" y="21"/>
                </a:cubicBezTo>
                <a:cubicBezTo>
                  <a:pt x="64" y="21"/>
                  <a:pt x="64" y="21"/>
                  <a:pt x="64" y="21"/>
                </a:cubicBezTo>
                <a:cubicBezTo>
                  <a:pt x="62" y="22"/>
                  <a:pt x="61" y="23"/>
                  <a:pt x="59" y="24"/>
                </a:cubicBezTo>
                <a:cubicBezTo>
                  <a:pt x="56" y="26"/>
                  <a:pt x="56" y="31"/>
                  <a:pt x="58" y="33"/>
                </a:cubicBezTo>
                <a:close/>
                <a:moveTo>
                  <a:pt x="163" y="166"/>
                </a:moveTo>
                <a:cubicBezTo>
                  <a:pt x="166" y="170"/>
                  <a:pt x="164" y="175"/>
                  <a:pt x="161" y="177"/>
                </a:cubicBezTo>
                <a:cubicBezTo>
                  <a:pt x="157" y="180"/>
                  <a:pt x="151" y="179"/>
                  <a:pt x="149" y="175"/>
                </a:cubicBezTo>
                <a:cubicBezTo>
                  <a:pt x="147" y="171"/>
                  <a:pt x="148" y="166"/>
                  <a:pt x="152" y="163"/>
                </a:cubicBezTo>
                <a:cubicBezTo>
                  <a:pt x="156" y="161"/>
                  <a:pt x="161" y="162"/>
                  <a:pt x="163" y="166"/>
                </a:cubicBezTo>
                <a:close/>
                <a:moveTo>
                  <a:pt x="97" y="162"/>
                </a:moveTo>
                <a:cubicBezTo>
                  <a:pt x="94" y="158"/>
                  <a:pt x="96" y="153"/>
                  <a:pt x="99" y="151"/>
                </a:cubicBezTo>
                <a:cubicBezTo>
                  <a:pt x="103" y="148"/>
                  <a:pt x="108" y="150"/>
                  <a:pt x="111" y="153"/>
                </a:cubicBezTo>
                <a:cubicBezTo>
                  <a:pt x="113" y="157"/>
                  <a:pt x="112" y="163"/>
                  <a:pt x="108" y="165"/>
                </a:cubicBezTo>
                <a:cubicBezTo>
                  <a:pt x="104" y="167"/>
                  <a:pt x="99" y="166"/>
                  <a:pt x="97" y="162"/>
                </a:cubicBezTo>
                <a:close/>
                <a:moveTo>
                  <a:pt x="176" y="114"/>
                </a:moveTo>
                <a:cubicBezTo>
                  <a:pt x="178" y="118"/>
                  <a:pt x="177" y="123"/>
                  <a:pt x="173" y="125"/>
                </a:cubicBezTo>
                <a:cubicBezTo>
                  <a:pt x="169" y="128"/>
                  <a:pt x="164" y="126"/>
                  <a:pt x="162" y="123"/>
                </a:cubicBezTo>
                <a:cubicBezTo>
                  <a:pt x="159" y="119"/>
                  <a:pt x="160" y="114"/>
                  <a:pt x="164" y="111"/>
                </a:cubicBezTo>
                <a:cubicBezTo>
                  <a:pt x="168" y="109"/>
                  <a:pt x="173" y="110"/>
                  <a:pt x="176" y="114"/>
                </a:cubicBezTo>
                <a:close/>
                <a:moveTo>
                  <a:pt x="155" y="126"/>
                </a:moveTo>
                <a:cubicBezTo>
                  <a:pt x="161" y="136"/>
                  <a:pt x="158" y="149"/>
                  <a:pt x="148" y="156"/>
                </a:cubicBezTo>
                <a:cubicBezTo>
                  <a:pt x="138" y="162"/>
                  <a:pt x="125" y="159"/>
                  <a:pt x="118" y="149"/>
                </a:cubicBezTo>
                <a:cubicBezTo>
                  <a:pt x="112" y="139"/>
                  <a:pt x="115" y="125"/>
                  <a:pt x="125" y="119"/>
                </a:cubicBezTo>
                <a:cubicBezTo>
                  <a:pt x="135" y="113"/>
                  <a:pt x="149" y="116"/>
                  <a:pt x="155" y="126"/>
                </a:cubicBezTo>
                <a:close/>
                <a:moveTo>
                  <a:pt x="123" y="101"/>
                </a:moveTo>
                <a:cubicBezTo>
                  <a:pt x="126" y="105"/>
                  <a:pt x="125" y="110"/>
                  <a:pt x="121" y="113"/>
                </a:cubicBezTo>
                <a:cubicBezTo>
                  <a:pt x="117" y="115"/>
                  <a:pt x="112" y="114"/>
                  <a:pt x="109" y="110"/>
                </a:cubicBezTo>
                <a:cubicBezTo>
                  <a:pt x="107" y="106"/>
                  <a:pt x="108" y="101"/>
                  <a:pt x="112" y="99"/>
                </a:cubicBezTo>
                <a:cubicBezTo>
                  <a:pt x="116" y="96"/>
                  <a:pt x="121" y="97"/>
                  <a:pt x="123" y="101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1798" kern="0">
              <a:solidFill>
                <a:srgbClr val="FFFFFF"/>
              </a:solidFill>
            </a:endParaRPr>
          </a:p>
        </p:txBody>
      </p:sp>
      <p:grpSp>
        <p:nvGrpSpPr>
          <p:cNvPr id="4" name="Group 34"/>
          <p:cNvGrpSpPr>
            <a:grpSpLocks noChangeAspect="1"/>
          </p:cNvGrpSpPr>
          <p:nvPr userDrawn="1"/>
        </p:nvGrpSpPr>
        <p:grpSpPr bwMode="auto">
          <a:xfrm>
            <a:off x="1763191" y="4652993"/>
            <a:ext cx="480773" cy="480344"/>
            <a:chOff x="3490" y="1809"/>
            <a:chExt cx="708" cy="707"/>
          </a:xfrm>
          <a:solidFill>
            <a:schemeClr val="tx2">
              <a:lumMod val="50000"/>
            </a:schemeClr>
          </a:solidFill>
        </p:grpSpPr>
        <p:sp>
          <p:nvSpPr>
            <p:cNvPr id="5" name="Freeform 35"/>
            <p:cNvSpPr>
              <a:spLocks noEditPoints="1"/>
            </p:cNvSpPr>
            <p:nvPr/>
          </p:nvSpPr>
          <p:spPr bwMode="auto">
            <a:xfrm>
              <a:off x="3490" y="1809"/>
              <a:ext cx="708" cy="707"/>
            </a:xfrm>
            <a:custGeom>
              <a:avLst/>
              <a:gdLst>
                <a:gd name="T0" fmla="*/ 42 w 297"/>
                <a:gd name="T1" fmla="*/ 64 h 297"/>
                <a:gd name="T2" fmla="*/ 16 w 297"/>
                <a:gd name="T3" fmla="*/ 82 h 297"/>
                <a:gd name="T4" fmla="*/ 5 w 297"/>
                <a:gd name="T5" fmla="*/ 111 h 297"/>
                <a:gd name="T6" fmla="*/ 11 w 297"/>
                <a:gd name="T7" fmla="*/ 142 h 297"/>
                <a:gd name="T8" fmla="*/ 2 w 297"/>
                <a:gd name="T9" fmla="*/ 172 h 297"/>
                <a:gd name="T10" fmla="*/ 10 w 297"/>
                <a:gd name="T11" fmla="*/ 201 h 297"/>
                <a:gd name="T12" fmla="*/ 32 w 297"/>
                <a:gd name="T13" fmla="*/ 223 h 297"/>
                <a:gd name="T14" fmla="*/ 42 w 297"/>
                <a:gd name="T15" fmla="*/ 253 h 297"/>
                <a:gd name="T16" fmla="*/ 66 w 297"/>
                <a:gd name="T17" fmla="*/ 272 h 297"/>
                <a:gd name="T18" fmla="*/ 97 w 297"/>
                <a:gd name="T19" fmla="*/ 277 h 297"/>
                <a:gd name="T20" fmla="*/ 122 w 297"/>
                <a:gd name="T21" fmla="*/ 295 h 297"/>
                <a:gd name="T22" fmla="*/ 153 w 297"/>
                <a:gd name="T23" fmla="*/ 297 h 297"/>
                <a:gd name="T24" fmla="*/ 180 w 297"/>
                <a:gd name="T25" fmla="*/ 282 h 297"/>
                <a:gd name="T26" fmla="*/ 213 w 297"/>
                <a:gd name="T27" fmla="*/ 283 h 297"/>
                <a:gd name="T28" fmla="*/ 239 w 297"/>
                <a:gd name="T29" fmla="*/ 267 h 297"/>
                <a:gd name="T30" fmla="*/ 251 w 297"/>
                <a:gd name="T31" fmla="*/ 237 h 297"/>
                <a:gd name="T32" fmla="*/ 271 w 297"/>
                <a:gd name="T33" fmla="*/ 233 h 297"/>
                <a:gd name="T34" fmla="*/ 282 w 297"/>
                <a:gd name="T35" fmla="*/ 213 h 297"/>
                <a:gd name="T36" fmla="*/ 288 w 297"/>
                <a:gd name="T37" fmla="*/ 198 h 297"/>
                <a:gd name="T38" fmla="*/ 293 w 297"/>
                <a:gd name="T39" fmla="*/ 175 h 297"/>
                <a:gd name="T40" fmla="*/ 282 w 297"/>
                <a:gd name="T41" fmla="*/ 159 h 297"/>
                <a:gd name="T42" fmla="*/ 295 w 297"/>
                <a:gd name="T43" fmla="*/ 144 h 297"/>
                <a:gd name="T44" fmla="*/ 294 w 297"/>
                <a:gd name="T45" fmla="*/ 120 h 297"/>
                <a:gd name="T46" fmla="*/ 290 w 297"/>
                <a:gd name="T47" fmla="*/ 105 h 297"/>
                <a:gd name="T48" fmla="*/ 279 w 297"/>
                <a:gd name="T49" fmla="*/ 84 h 297"/>
                <a:gd name="T50" fmla="*/ 261 w 297"/>
                <a:gd name="T51" fmla="*/ 78 h 297"/>
                <a:gd name="T52" fmla="*/ 263 w 297"/>
                <a:gd name="T53" fmla="*/ 58 h 297"/>
                <a:gd name="T54" fmla="*/ 248 w 297"/>
                <a:gd name="T55" fmla="*/ 39 h 297"/>
                <a:gd name="T56" fmla="*/ 236 w 297"/>
                <a:gd name="T57" fmla="*/ 29 h 297"/>
                <a:gd name="T58" fmla="*/ 215 w 297"/>
                <a:gd name="T59" fmla="*/ 19 h 297"/>
                <a:gd name="T60" fmla="*/ 197 w 297"/>
                <a:gd name="T61" fmla="*/ 24 h 297"/>
                <a:gd name="T62" fmla="*/ 187 w 297"/>
                <a:gd name="T63" fmla="*/ 7 h 297"/>
                <a:gd name="T64" fmla="*/ 164 w 297"/>
                <a:gd name="T65" fmla="*/ 1 h 297"/>
                <a:gd name="T66" fmla="*/ 148 w 297"/>
                <a:gd name="T67" fmla="*/ 0 h 297"/>
                <a:gd name="T68" fmla="*/ 125 w 297"/>
                <a:gd name="T69" fmla="*/ 4 h 297"/>
                <a:gd name="T70" fmla="*/ 113 w 297"/>
                <a:gd name="T71" fmla="*/ 19 h 297"/>
                <a:gd name="T72" fmla="*/ 95 w 297"/>
                <a:gd name="T73" fmla="*/ 11 h 297"/>
                <a:gd name="T74" fmla="*/ 73 w 297"/>
                <a:gd name="T75" fmla="*/ 21 h 297"/>
                <a:gd name="T76" fmla="*/ 60 w 297"/>
                <a:gd name="T77" fmla="*/ 29 h 297"/>
                <a:gd name="T78" fmla="*/ 28 w 297"/>
                <a:gd name="T79" fmla="*/ 118 h 297"/>
                <a:gd name="T80" fmla="*/ 102 w 297"/>
                <a:gd name="T81" fmla="*/ 98 h 297"/>
                <a:gd name="T82" fmla="*/ 102 w 297"/>
                <a:gd name="T83" fmla="*/ 98 h 297"/>
                <a:gd name="T84" fmla="*/ 145 w 297"/>
                <a:gd name="T85" fmla="*/ 218 h 297"/>
                <a:gd name="T86" fmla="*/ 195 w 297"/>
                <a:gd name="T87" fmla="*/ 200 h 297"/>
                <a:gd name="T88" fmla="*/ 88 w 297"/>
                <a:gd name="T89" fmla="*/ 213 h 297"/>
                <a:gd name="T90" fmla="*/ 265 w 297"/>
                <a:gd name="T91" fmla="*/ 193 h 297"/>
                <a:gd name="T92" fmla="*/ 208 w 297"/>
                <a:gd name="T93" fmla="*/ 214 h 297"/>
                <a:gd name="T94" fmla="*/ 234 w 297"/>
                <a:gd name="T95" fmla="*/ 169 h 297"/>
                <a:gd name="T96" fmla="*/ 157 w 297"/>
                <a:gd name="T97" fmla="*/ 159 h 297"/>
                <a:gd name="T98" fmla="*/ 157 w 297"/>
                <a:gd name="T99" fmla="*/ 159 h 297"/>
                <a:gd name="T100" fmla="*/ 128 w 297"/>
                <a:gd name="T101" fmla="*/ 26 h 297"/>
                <a:gd name="T102" fmla="*/ 89 w 297"/>
                <a:gd name="T103" fmla="*/ 84 h 297"/>
                <a:gd name="T104" fmla="*/ 115 w 297"/>
                <a:gd name="T105" fmla="*/ 29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7" h="297">
                  <a:moveTo>
                    <a:pt x="57" y="49"/>
                  </a:moveTo>
                  <a:cubicBezTo>
                    <a:pt x="54" y="52"/>
                    <a:pt x="47" y="50"/>
                    <a:pt x="43" y="45"/>
                  </a:cubicBezTo>
                  <a:cubicBezTo>
                    <a:pt x="41" y="47"/>
                    <a:pt x="39" y="48"/>
                    <a:pt x="38" y="50"/>
                  </a:cubicBezTo>
                  <a:cubicBezTo>
                    <a:pt x="43" y="55"/>
                    <a:pt x="45" y="61"/>
                    <a:pt x="42" y="64"/>
                  </a:cubicBezTo>
                  <a:cubicBezTo>
                    <a:pt x="39" y="67"/>
                    <a:pt x="33" y="67"/>
                    <a:pt x="28" y="63"/>
                  </a:cubicBezTo>
                  <a:cubicBezTo>
                    <a:pt x="26" y="65"/>
                    <a:pt x="25" y="67"/>
                    <a:pt x="23" y="69"/>
                  </a:cubicBezTo>
                  <a:cubicBezTo>
                    <a:pt x="29" y="72"/>
                    <a:pt x="32" y="78"/>
                    <a:pt x="30" y="81"/>
                  </a:cubicBezTo>
                  <a:cubicBezTo>
                    <a:pt x="28" y="85"/>
                    <a:pt x="22" y="85"/>
                    <a:pt x="16" y="82"/>
                  </a:cubicBezTo>
                  <a:cubicBezTo>
                    <a:pt x="15" y="85"/>
                    <a:pt x="14" y="87"/>
                    <a:pt x="13" y="89"/>
                  </a:cubicBezTo>
                  <a:cubicBezTo>
                    <a:pt x="18" y="92"/>
                    <a:pt x="22" y="97"/>
                    <a:pt x="20" y="100"/>
                  </a:cubicBezTo>
                  <a:cubicBezTo>
                    <a:pt x="19" y="104"/>
                    <a:pt x="13" y="106"/>
                    <a:pt x="7" y="104"/>
                  </a:cubicBezTo>
                  <a:cubicBezTo>
                    <a:pt x="6" y="106"/>
                    <a:pt x="6" y="109"/>
                    <a:pt x="5" y="111"/>
                  </a:cubicBezTo>
                  <a:cubicBezTo>
                    <a:pt x="11" y="113"/>
                    <a:pt x="15" y="117"/>
                    <a:pt x="14" y="121"/>
                  </a:cubicBezTo>
                  <a:cubicBezTo>
                    <a:pt x="13" y="125"/>
                    <a:pt x="8" y="127"/>
                    <a:pt x="2" y="126"/>
                  </a:cubicBezTo>
                  <a:cubicBezTo>
                    <a:pt x="1" y="129"/>
                    <a:pt x="1" y="131"/>
                    <a:pt x="1" y="134"/>
                  </a:cubicBezTo>
                  <a:cubicBezTo>
                    <a:pt x="7" y="134"/>
                    <a:pt x="11" y="138"/>
                    <a:pt x="11" y="142"/>
                  </a:cubicBezTo>
                  <a:cubicBezTo>
                    <a:pt x="11" y="146"/>
                    <a:pt x="6" y="149"/>
                    <a:pt x="0" y="149"/>
                  </a:cubicBezTo>
                  <a:cubicBezTo>
                    <a:pt x="0" y="152"/>
                    <a:pt x="0" y="154"/>
                    <a:pt x="0" y="157"/>
                  </a:cubicBezTo>
                  <a:cubicBezTo>
                    <a:pt x="6" y="157"/>
                    <a:pt x="11" y="159"/>
                    <a:pt x="12" y="163"/>
                  </a:cubicBezTo>
                  <a:cubicBezTo>
                    <a:pt x="12" y="167"/>
                    <a:pt x="8" y="171"/>
                    <a:pt x="2" y="172"/>
                  </a:cubicBezTo>
                  <a:cubicBezTo>
                    <a:pt x="2" y="175"/>
                    <a:pt x="3" y="177"/>
                    <a:pt x="3" y="179"/>
                  </a:cubicBezTo>
                  <a:cubicBezTo>
                    <a:pt x="9" y="179"/>
                    <a:pt x="14" y="180"/>
                    <a:pt x="15" y="184"/>
                  </a:cubicBezTo>
                  <a:cubicBezTo>
                    <a:pt x="16" y="188"/>
                    <a:pt x="13" y="192"/>
                    <a:pt x="7" y="194"/>
                  </a:cubicBezTo>
                  <a:cubicBezTo>
                    <a:pt x="8" y="197"/>
                    <a:pt x="9" y="199"/>
                    <a:pt x="10" y="201"/>
                  </a:cubicBezTo>
                  <a:cubicBezTo>
                    <a:pt x="15" y="200"/>
                    <a:pt x="21" y="201"/>
                    <a:pt x="22" y="204"/>
                  </a:cubicBezTo>
                  <a:cubicBezTo>
                    <a:pt x="24" y="208"/>
                    <a:pt x="21" y="213"/>
                    <a:pt x="16" y="216"/>
                  </a:cubicBezTo>
                  <a:cubicBezTo>
                    <a:pt x="17" y="218"/>
                    <a:pt x="18" y="220"/>
                    <a:pt x="19" y="222"/>
                  </a:cubicBezTo>
                  <a:cubicBezTo>
                    <a:pt x="25" y="220"/>
                    <a:pt x="30" y="220"/>
                    <a:pt x="32" y="223"/>
                  </a:cubicBezTo>
                  <a:cubicBezTo>
                    <a:pt x="34" y="226"/>
                    <a:pt x="32" y="231"/>
                    <a:pt x="28" y="235"/>
                  </a:cubicBezTo>
                  <a:cubicBezTo>
                    <a:pt x="29" y="237"/>
                    <a:pt x="31" y="239"/>
                    <a:pt x="32" y="241"/>
                  </a:cubicBezTo>
                  <a:cubicBezTo>
                    <a:pt x="37" y="238"/>
                    <a:pt x="42" y="237"/>
                    <a:pt x="45" y="240"/>
                  </a:cubicBezTo>
                  <a:cubicBezTo>
                    <a:pt x="47" y="243"/>
                    <a:pt x="46" y="248"/>
                    <a:pt x="42" y="253"/>
                  </a:cubicBezTo>
                  <a:cubicBezTo>
                    <a:pt x="44" y="255"/>
                    <a:pt x="46" y="256"/>
                    <a:pt x="48" y="258"/>
                  </a:cubicBezTo>
                  <a:cubicBezTo>
                    <a:pt x="52" y="254"/>
                    <a:pt x="57" y="253"/>
                    <a:pt x="60" y="255"/>
                  </a:cubicBezTo>
                  <a:cubicBezTo>
                    <a:pt x="63" y="257"/>
                    <a:pt x="63" y="263"/>
                    <a:pt x="60" y="268"/>
                  </a:cubicBezTo>
                  <a:cubicBezTo>
                    <a:pt x="62" y="269"/>
                    <a:pt x="64" y="271"/>
                    <a:pt x="66" y="272"/>
                  </a:cubicBezTo>
                  <a:cubicBezTo>
                    <a:pt x="69" y="268"/>
                    <a:pt x="74" y="265"/>
                    <a:pt x="78" y="267"/>
                  </a:cubicBezTo>
                  <a:cubicBezTo>
                    <a:pt x="81" y="269"/>
                    <a:pt x="81" y="275"/>
                    <a:pt x="79" y="280"/>
                  </a:cubicBezTo>
                  <a:cubicBezTo>
                    <a:pt x="81" y="281"/>
                    <a:pt x="84" y="282"/>
                    <a:pt x="86" y="283"/>
                  </a:cubicBezTo>
                  <a:cubicBezTo>
                    <a:pt x="89" y="278"/>
                    <a:pt x="93" y="275"/>
                    <a:pt x="97" y="277"/>
                  </a:cubicBezTo>
                  <a:cubicBezTo>
                    <a:pt x="100" y="278"/>
                    <a:pt x="102" y="283"/>
                    <a:pt x="100" y="289"/>
                  </a:cubicBezTo>
                  <a:cubicBezTo>
                    <a:pt x="103" y="290"/>
                    <a:pt x="105" y="291"/>
                    <a:pt x="107" y="291"/>
                  </a:cubicBezTo>
                  <a:cubicBezTo>
                    <a:pt x="109" y="286"/>
                    <a:pt x="113" y="282"/>
                    <a:pt x="117" y="283"/>
                  </a:cubicBezTo>
                  <a:cubicBezTo>
                    <a:pt x="121" y="284"/>
                    <a:pt x="123" y="289"/>
                    <a:pt x="122" y="295"/>
                  </a:cubicBezTo>
                  <a:cubicBezTo>
                    <a:pt x="125" y="295"/>
                    <a:pt x="127" y="296"/>
                    <a:pt x="130" y="296"/>
                  </a:cubicBezTo>
                  <a:cubicBezTo>
                    <a:pt x="131" y="290"/>
                    <a:pt x="134" y="286"/>
                    <a:pt x="138" y="286"/>
                  </a:cubicBezTo>
                  <a:cubicBezTo>
                    <a:pt x="142" y="286"/>
                    <a:pt x="145" y="291"/>
                    <a:pt x="145" y="297"/>
                  </a:cubicBezTo>
                  <a:cubicBezTo>
                    <a:pt x="148" y="297"/>
                    <a:pt x="150" y="297"/>
                    <a:pt x="153" y="297"/>
                  </a:cubicBezTo>
                  <a:cubicBezTo>
                    <a:pt x="153" y="291"/>
                    <a:pt x="155" y="286"/>
                    <a:pt x="159" y="286"/>
                  </a:cubicBezTo>
                  <a:cubicBezTo>
                    <a:pt x="163" y="285"/>
                    <a:pt x="167" y="290"/>
                    <a:pt x="168" y="296"/>
                  </a:cubicBezTo>
                  <a:cubicBezTo>
                    <a:pt x="171" y="296"/>
                    <a:pt x="173" y="295"/>
                    <a:pt x="176" y="295"/>
                  </a:cubicBezTo>
                  <a:cubicBezTo>
                    <a:pt x="175" y="289"/>
                    <a:pt x="176" y="283"/>
                    <a:pt x="180" y="282"/>
                  </a:cubicBezTo>
                  <a:cubicBezTo>
                    <a:pt x="184" y="281"/>
                    <a:pt x="189" y="285"/>
                    <a:pt x="191" y="291"/>
                  </a:cubicBezTo>
                  <a:cubicBezTo>
                    <a:pt x="193" y="290"/>
                    <a:pt x="196" y="290"/>
                    <a:pt x="198" y="289"/>
                  </a:cubicBezTo>
                  <a:cubicBezTo>
                    <a:pt x="196" y="283"/>
                    <a:pt x="197" y="277"/>
                    <a:pt x="200" y="275"/>
                  </a:cubicBezTo>
                  <a:cubicBezTo>
                    <a:pt x="204" y="273"/>
                    <a:pt x="210" y="277"/>
                    <a:pt x="213" y="283"/>
                  </a:cubicBezTo>
                  <a:cubicBezTo>
                    <a:pt x="215" y="282"/>
                    <a:pt x="217" y="280"/>
                    <a:pt x="219" y="279"/>
                  </a:cubicBezTo>
                  <a:cubicBezTo>
                    <a:pt x="216" y="274"/>
                    <a:pt x="216" y="267"/>
                    <a:pt x="219" y="265"/>
                  </a:cubicBezTo>
                  <a:cubicBezTo>
                    <a:pt x="223" y="263"/>
                    <a:pt x="229" y="265"/>
                    <a:pt x="233" y="271"/>
                  </a:cubicBezTo>
                  <a:cubicBezTo>
                    <a:pt x="235" y="270"/>
                    <a:pt x="237" y="268"/>
                    <a:pt x="239" y="267"/>
                  </a:cubicBezTo>
                  <a:cubicBezTo>
                    <a:pt x="234" y="261"/>
                    <a:pt x="233" y="255"/>
                    <a:pt x="236" y="252"/>
                  </a:cubicBezTo>
                  <a:cubicBezTo>
                    <a:pt x="240" y="249"/>
                    <a:pt x="246" y="251"/>
                    <a:pt x="251" y="256"/>
                  </a:cubicBezTo>
                  <a:cubicBezTo>
                    <a:pt x="253" y="255"/>
                    <a:pt x="254" y="253"/>
                    <a:pt x="256" y="251"/>
                  </a:cubicBezTo>
                  <a:cubicBezTo>
                    <a:pt x="251" y="247"/>
                    <a:pt x="248" y="240"/>
                    <a:pt x="251" y="237"/>
                  </a:cubicBezTo>
                  <a:cubicBezTo>
                    <a:pt x="254" y="234"/>
                    <a:pt x="261" y="234"/>
                    <a:pt x="266" y="239"/>
                  </a:cubicBezTo>
                  <a:cubicBezTo>
                    <a:pt x="266" y="239"/>
                    <a:pt x="266" y="239"/>
                    <a:pt x="266" y="239"/>
                  </a:cubicBezTo>
                  <a:cubicBezTo>
                    <a:pt x="268" y="237"/>
                    <a:pt x="269" y="235"/>
                    <a:pt x="271" y="233"/>
                  </a:cubicBezTo>
                  <a:cubicBezTo>
                    <a:pt x="271" y="233"/>
                    <a:pt x="271" y="233"/>
                    <a:pt x="271" y="233"/>
                  </a:cubicBezTo>
                  <a:cubicBezTo>
                    <a:pt x="264" y="229"/>
                    <a:pt x="261" y="223"/>
                    <a:pt x="263" y="220"/>
                  </a:cubicBezTo>
                  <a:cubicBezTo>
                    <a:pt x="266" y="216"/>
                    <a:pt x="272" y="215"/>
                    <a:pt x="278" y="219"/>
                  </a:cubicBezTo>
                  <a:cubicBezTo>
                    <a:pt x="279" y="219"/>
                    <a:pt x="279" y="219"/>
                    <a:pt x="279" y="219"/>
                  </a:cubicBezTo>
                  <a:cubicBezTo>
                    <a:pt x="280" y="217"/>
                    <a:pt x="281" y="215"/>
                    <a:pt x="282" y="213"/>
                  </a:cubicBezTo>
                  <a:cubicBezTo>
                    <a:pt x="282" y="212"/>
                    <a:pt x="282" y="212"/>
                    <a:pt x="282" y="212"/>
                  </a:cubicBezTo>
                  <a:cubicBezTo>
                    <a:pt x="275" y="210"/>
                    <a:pt x="271" y="205"/>
                    <a:pt x="273" y="200"/>
                  </a:cubicBezTo>
                  <a:cubicBezTo>
                    <a:pt x="274" y="196"/>
                    <a:pt x="281" y="195"/>
                    <a:pt x="287" y="197"/>
                  </a:cubicBezTo>
                  <a:cubicBezTo>
                    <a:pt x="288" y="198"/>
                    <a:pt x="288" y="198"/>
                    <a:pt x="288" y="198"/>
                  </a:cubicBezTo>
                  <a:cubicBezTo>
                    <a:pt x="289" y="195"/>
                    <a:pt x="290" y="193"/>
                    <a:pt x="291" y="191"/>
                  </a:cubicBezTo>
                  <a:cubicBezTo>
                    <a:pt x="291" y="191"/>
                    <a:pt x="290" y="190"/>
                    <a:pt x="290" y="190"/>
                  </a:cubicBezTo>
                  <a:cubicBezTo>
                    <a:pt x="283" y="189"/>
                    <a:pt x="278" y="184"/>
                    <a:pt x="279" y="180"/>
                  </a:cubicBezTo>
                  <a:cubicBezTo>
                    <a:pt x="280" y="176"/>
                    <a:pt x="286" y="173"/>
                    <a:pt x="293" y="175"/>
                  </a:cubicBezTo>
                  <a:cubicBezTo>
                    <a:pt x="294" y="175"/>
                    <a:pt x="294" y="175"/>
                    <a:pt x="294" y="175"/>
                  </a:cubicBezTo>
                  <a:cubicBezTo>
                    <a:pt x="295" y="173"/>
                    <a:pt x="295" y="170"/>
                    <a:pt x="296" y="168"/>
                  </a:cubicBezTo>
                  <a:cubicBezTo>
                    <a:pt x="295" y="168"/>
                    <a:pt x="295" y="168"/>
                    <a:pt x="294" y="167"/>
                  </a:cubicBezTo>
                  <a:cubicBezTo>
                    <a:pt x="287" y="167"/>
                    <a:pt x="282" y="163"/>
                    <a:pt x="282" y="159"/>
                  </a:cubicBezTo>
                  <a:cubicBezTo>
                    <a:pt x="282" y="155"/>
                    <a:pt x="288" y="151"/>
                    <a:pt x="295" y="152"/>
                  </a:cubicBezTo>
                  <a:cubicBezTo>
                    <a:pt x="296" y="152"/>
                    <a:pt x="296" y="152"/>
                    <a:pt x="297" y="152"/>
                  </a:cubicBezTo>
                  <a:cubicBezTo>
                    <a:pt x="297" y="149"/>
                    <a:pt x="297" y="147"/>
                    <a:pt x="297" y="144"/>
                  </a:cubicBezTo>
                  <a:cubicBezTo>
                    <a:pt x="296" y="144"/>
                    <a:pt x="296" y="144"/>
                    <a:pt x="295" y="144"/>
                  </a:cubicBezTo>
                  <a:cubicBezTo>
                    <a:pt x="288" y="145"/>
                    <a:pt x="282" y="142"/>
                    <a:pt x="282" y="138"/>
                  </a:cubicBezTo>
                  <a:cubicBezTo>
                    <a:pt x="281" y="133"/>
                    <a:pt x="286" y="129"/>
                    <a:pt x="293" y="128"/>
                  </a:cubicBezTo>
                  <a:cubicBezTo>
                    <a:pt x="294" y="128"/>
                    <a:pt x="295" y="128"/>
                    <a:pt x="295" y="128"/>
                  </a:cubicBezTo>
                  <a:cubicBezTo>
                    <a:pt x="295" y="126"/>
                    <a:pt x="295" y="123"/>
                    <a:pt x="294" y="120"/>
                  </a:cubicBezTo>
                  <a:cubicBezTo>
                    <a:pt x="294" y="121"/>
                    <a:pt x="293" y="121"/>
                    <a:pt x="292" y="121"/>
                  </a:cubicBezTo>
                  <a:cubicBezTo>
                    <a:pt x="286" y="123"/>
                    <a:pt x="279" y="121"/>
                    <a:pt x="278" y="117"/>
                  </a:cubicBezTo>
                  <a:cubicBezTo>
                    <a:pt x="277" y="113"/>
                    <a:pt x="281" y="108"/>
                    <a:pt x="288" y="106"/>
                  </a:cubicBezTo>
                  <a:cubicBezTo>
                    <a:pt x="289" y="106"/>
                    <a:pt x="290" y="105"/>
                    <a:pt x="290" y="105"/>
                  </a:cubicBezTo>
                  <a:cubicBezTo>
                    <a:pt x="289" y="103"/>
                    <a:pt x="289" y="100"/>
                    <a:pt x="288" y="98"/>
                  </a:cubicBezTo>
                  <a:cubicBezTo>
                    <a:pt x="287" y="98"/>
                    <a:pt x="287" y="98"/>
                    <a:pt x="286" y="99"/>
                  </a:cubicBezTo>
                  <a:cubicBezTo>
                    <a:pt x="280" y="101"/>
                    <a:pt x="273" y="101"/>
                    <a:pt x="271" y="97"/>
                  </a:cubicBezTo>
                  <a:cubicBezTo>
                    <a:pt x="269" y="93"/>
                    <a:pt x="273" y="87"/>
                    <a:pt x="279" y="84"/>
                  </a:cubicBezTo>
                  <a:cubicBezTo>
                    <a:pt x="280" y="84"/>
                    <a:pt x="281" y="84"/>
                    <a:pt x="282" y="83"/>
                  </a:cubicBezTo>
                  <a:cubicBezTo>
                    <a:pt x="280" y="81"/>
                    <a:pt x="279" y="79"/>
                    <a:pt x="278" y="76"/>
                  </a:cubicBezTo>
                  <a:cubicBezTo>
                    <a:pt x="277" y="77"/>
                    <a:pt x="277" y="77"/>
                    <a:pt x="276" y="77"/>
                  </a:cubicBezTo>
                  <a:cubicBezTo>
                    <a:pt x="270" y="81"/>
                    <a:pt x="264" y="81"/>
                    <a:pt x="261" y="78"/>
                  </a:cubicBezTo>
                  <a:cubicBezTo>
                    <a:pt x="259" y="74"/>
                    <a:pt x="262" y="68"/>
                    <a:pt x="267" y="64"/>
                  </a:cubicBezTo>
                  <a:cubicBezTo>
                    <a:pt x="268" y="64"/>
                    <a:pt x="269" y="63"/>
                    <a:pt x="269" y="63"/>
                  </a:cubicBezTo>
                  <a:cubicBezTo>
                    <a:pt x="268" y="61"/>
                    <a:pt x="266" y="59"/>
                    <a:pt x="265" y="57"/>
                  </a:cubicBezTo>
                  <a:cubicBezTo>
                    <a:pt x="264" y="57"/>
                    <a:pt x="264" y="58"/>
                    <a:pt x="263" y="58"/>
                  </a:cubicBezTo>
                  <a:cubicBezTo>
                    <a:pt x="258" y="63"/>
                    <a:pt x="251" y="64"/>
                    <a:pt x="248" y="61"/>
                  </a:cubicBezTo>
                  <a:cubicBezTo>
                    <a:pt x="245" y="58"/>
                    <a:pt x="247" y="51"/>
                    <a:pt x="252" y="46"/>
                  </a:cubicBezTo>
                  <a:cubicBezTo>
                    <a:pt x="253" y="46"/>
                    <a:pt x="254" y="45"/>
                    <a:pt x="254" y="45"/>
                  </a:cubicBezTo>
                  <a:cubicBezTo>
                    <a:pt x="252" y="43"/>
                    <a:pt x="250" y="41"/>
                    <a:pt x="248" y="39"/>
                  </a:cubicBezTo>
                  <a:cubicBezTo>
                    <a:pt x="248" y="40"/>
                    <a:pt x="248" y="40"/>
                    <a:pt x="247" y="41"/>
                  </a:cubicBezTo>
                  <a:cubicBezTo>
                    <a:pt x="243" y="46"/>
                    <a:pt x="237" y="49"/>
                    <a:pt x="233" y="46"/>
                  </a:cubicBezTo>
                  <a:cubicBezTo>
                    <a:pt x="230" y="43"/>
                    <a:pt x="230" y="37"/>
                    <a:pt x="235" y="31"/>
                  </a:cubicBezTo>
                  <a:cubicBezTo>
                    <a:pt x="235" y="30"/>
                    <a:pt x="236" y="30"/>
                    <a:pt x="236" y="29"/>
                  </a:cubicBezTo>
                  <a:cubicBezTo>
                    <a:pt x="234" y="28"/>
                    <a:pt x="232" y="26"/>
                    <a:pt x="230" y="25"/>
                  </a:cubicBezTo>
                  <a:cubicBezTo>
                    <a:pt x="230" y="25"/>
                    <a:pt x="229" y="26"/>
                    <a:pt x="229" y="27"/>
                  </a:cubicBezTo>
                  <a:cubicBezTo>
                    <a:pt x="225" y="33"/>
                    <a:pt x="220" y="36"/>
                    <a:pt x="216" y="34"/>
                  </a:cubicBezTo>
                  <a:cubicBezTo>
                    <a:pt x="212" y="32"/>
                    <a:pt x="212" y="25"/>
                    <a:pt x="215" y="19"/>
                  </a:cubicBezTo>
                  <a:cubicBezTo>
                    <a:pt x="215" y="18"/>
                    <a:pt x="216" y="17"/>
                    <a:pt x="216" y="17"/>
                  </a:cubicBezTo>
                  <a:cubicBezTo>
                    <a:pt x="214" y="16"/>
                    <a:pt x="211" y="14"/>
                    <a:pt x="209" y="13"/>
                  </a:cubicBezTo>
                  <a:cubicBezTo>
                    <a:pt x="209" y="14"/>
                    <a:pt x="209" y="15"/>
                    <a:pt x="208" y="15"/>
                  </a:cubicBezTo>
                  <a:cubicBezTo>
                    <a:pt x="206" y="22"/>
                    <a:pt x="201" y="26"/>
                    <a:pt x="197" y="24"/>
                  </a:cubicBezTo>
                  <a:cubicBezTo>
                    <a:pt x="192" y="23"/>
                    <a:pt x="191" y="16"/>
                    <a:pt x="194" y="10"/>
                  </a:cubicBezTo>
                  <a:cubicBezTo>
                    <a:pt x="194" y="9"/>
                    <a:pt x="194" y="8"/>
                    <a:pt x="194" y="8"/>
                  </a:cubicBezTo>
                  <a:cubicBezTo>
                    <a:pt x="192" y="7"/>
                    <a:pt x="189" y="6"/>
                    <a:pt x="187" y="5"/>
                  </a:cubicBezTo>
                  <a:cubicBezTo>
                    <a:pt x="187" y="6"/>
                    <a:pt x="187" y="7"/>
                    <a:pt x="187" y="7"/>
                  </a:cubicBezTo>
                  <a:cubicBezTo>
                    <a:pt x="185" y="14"/>
                    <a:pt x="181" y="19"/>
                    <a:pt x="176" y="18"/>
                  </a:cubicBezTo>
                  <a:cubicBezTo>
                    <a:pt x="172" y="17"/>
                    <a:pt x="170" y="11"/>
                    <a:pt x="171" y="4"/>
                  </a:cubicBezTo>
                  <a:cubicBezTo>
                    <a:pt x="171" y="3"/>
                    <a:pt x="171" y="3"/>
                    <a:pt x="171" y="2"/>
                  </a:cubicBezTo>
                  <a:cubicBezTo>
                    <a:pt x="169" y="2"/>
                    <a:pt x="166" y="2"/>
                    <a:pt x="164" y="1"/>
                  </a:cubicBezTo>
                  <a:cubicBezTo>
                    <a:pt x="164" y="2"/>
                    <a:pt x="164" y="2"/>
                    <a:pt x="164" y="3"/>
                  </a:cubicBezTo>
                  <a:cubicBezTo>
                    <a:pt x="163" y="10"/>
                    <a:pt x="160" y="15"/>
                    <a:pt x="155" y="15"/>
                  </a:cubicBezTo>
                  <a:cubicBezTo>
                    <a:pt x="151" y="15"/>
                    <a:pt x="148" y="9"/>
                    <a:pt x="148" y="2"/>
                  </a:cubicBezTo>
                  <a:cubicBezTo>
                    <a:pt x="148" y="1"/>
                    <a:pt x="148" y="1"/>
                    <a:pt x="148" y="0"/>
                  </a:cubicBezTo>
                  <a:cubicBezTo>
                    <a:pt x="145" y="0"/>
                    <a:pt x="143" y="1"/>
                    <a:pt x="140" y="1"/>
                  </a:cubicBezTo>
                  <a:cubicBezTo>
                    <a:pt x="140" y="1"/>
                    <a:pt x="140" y="1"/>
                    <a:pt x="140" y="2"/>
                  </a:cubicBezTo>
                  <a:cubicBezTo>
                    <a:pt x="141" y="9"/>
                    <a:pt x="138" y="15"/>
                    <a:pt x="134" y="15"/>
                  </a:cubicBezTo>
                  <a:cubicBezTo>
                    <a:pt x="130" y="16"/>
                    <a:pt x="125" y="11"/>
                    <a:pt x="125" y="4"/>
                  </a:cubicBezTo>
                  <a:cubicBezTo>
                    <a:pt x="125" y="3"/>
                    <a:pt x="125" y="3"/>
                    <a:pt x="124" y="2"/>
                  </a:cubicBezTo>
                  <a:cubicBezTo>
                    <a:pt x="122" y="3"/>
                    <a:pt x="119" y="3"/>
                    <a:pt x="117" y="4"/>
                  </a:cubicBezTo>
                  <a:cubicBezTo>
                    <a:pt x="117" y="4"/>
                    <a:pt x="117" y="4"/>
                    <a:pt x="117" y="5"/>
                  </a:cubicBezTo>
                  <a:cubicBezTo>
                    <a:pt x="119" y="11"/>
                    <a:pt x="117" y="18"/>
                    <a:pt x="113" y="19"/>
                  </a:cubicBezTo>
                  <a:cubicBezTo>
                    <a:pt x="109" y="20"/>
                    <a:pt x="104" y="16"/>
                    <a:pt x="102" y="9"/>
                  </a:cubicBezTo>
                  <a:cubicBezTo>
                    <a:pt x="102" y="9"/>
                    <a:pt x="102" y="8"/>
                    <a:pt x="102" y="8"/>
                  </a:cubicBezTo>
                  <a:cubicBezTo>
                    <a:pt x="99" y="9"/>
                    <a:pt x="97" y="10"/>
                    <a:pt x="94" y="11"/>
                  </a:cubicBezTo>
                  <a:cubicBezTo>
                    <a:pt x="95" y="11"/>
                    <a:pt x="95" y="11"/>
                    <a:pt x="95" y="11"/>
                  </a:cubicBezTo>
                  <a:cubicBezTo>
                    <a:pt x="98" y="17"/>
                    <a:pt x="97" y="24"/>
                    <a:pt x="93" y="26"/>
                  </a:cubicBezTo>
                  <a:cubicBezTo>
                    <a:pt x="89" y="28"/>
                    <a:pt x="83" y="24"/>
                    <a:pt x="80" y="18"/>
                  </a:cubicBezTo>
                  <a:cubicBezTo>
                    <a:pt x="80" y="17"/>
                    <a:pt x="80" y="17"/>
                    <a:pt x="80" y="17"/>
                  </a:cubicBezTo>
                  <a:cubicBezTo>
                    <a:pt x="78" y="18"/>
                    <a:pt x="76" y="19"/>
                    <a:pt x="73" y="21"/>
                  </a:cubicBezTo>
                  <a:cubicBezTo>
                    <a:pt x="73" y="21"/>
                    <a:pt x="74" y="21"/>
                    <a:pt x="74" y="21"/>
                  </a:cubicBezTo>
                  <a:cubicBezTo>
                    <a:pt x="77" y="27"/>
                    <a:pt x="78" y="33"/>
                    <a:pt x="74" y="36"/>
                  </a:cubicBezTo>
                  <a:cubicBezTo>
                    <a:pt x="70" y="38"/>
                    <a:pt x="64" y="35"/>
                    <a:pt x="60" y="30"/>
                  </a:cubicBezTo>
                  <a:cubicBezTo>
                    <a:pt x="60" y="30"/>
                    <a:pt x="60" y="30"/>
                    <a:pt x="60" y="29"/>
                  </a:cubicBezTo>
                  <a:cubicBezTo>
                    <a:pt x="58" y="31"/>
                    <a:pt x="56" y="32"/>
                    <a:pt x="54" y="34"/>
                  </a:cubicBezTo>
                  <a:cubicBezTo>
                    <a:pt x="59" y="39"/>
                    <a:pt x="60" y="46"/>
                    <a:pt x="57" y="49"/>
                  </a:cubicBezTo>
                  <a:close/>
                  <a:moveTo>
                    <a:pt x="52" y="228"/>
                  </a:moveTo>
                  <a:cubicBezTo>
                    <a:pt x="26" y="196"/>
                    <a:pt x="18" y="156"/>
                    <a:pt x="28" y="118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8" y="160"/>
                    <a:pt x="64" y="184"/>
                    <a:pt x="79" y="203"/>
                  </a:cubicBezTo>
                  <a:lnTo>
                    <a:pt x="52" y="228"/>
                  </a:lnTo>
                  <a:close/>
                  <a:moveTo>
                    <a:pt x="102" y="98"/>
                  </a:moveTo>
                  <a:cubicBezTo>
                    <a:pt x="127" y="75"/>
                    <a:pt x="165" y="74"/>
                    <a:pt x="191" y="94"/>
                  </a:cubicBezTo>
                  <a:cubicBezTo>
                    <a:pt x="139" y="126"/>
                    <a:pt x="139" y="126"/>
                    <a:pt x="139" y="126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9" y="112"/>
                    <a:pt x="95" y="104"/>
                    <a:pt x="102" y="98"/>
                  </a:cubicBezTo>
                  <a:close/>
                  <a:moveTo>
                    <a:pt x="97" y="196"/>
                  </a:moveTo>
                  <a:cubicBezTo>
                    <a:pt x="84" y="182"/>
                    <a:pt x="79" y="164"/>
                    <a:pt x="79" y="146"/>
                  </a:cubicBezTo>
                  <a:cubicBezTo>
                    <a:pt x="124" y="171"/>
                    <a:pt x="124" y="171"/>
                    <a:pt x="124" y="171"/>
                  </a:cubicBezTo>
                  <a:cubicBezTo>
                    <a:pt x="145" y="218"/>
                    <a:pt x="145" y="218"/>
                    <a:pt x="145" y="218"/>
                  </a:cubicBezTo>
                  <a:cubicBezTo>
                    <a:pt x="127" y="217"/>
                    <a:pt x="110" y="210"/>
                    <a:pt x="97" y="196"/>
                  </a:cubicBezTo>
                  <a:close/>
                  <a:moveTo>
                    <a:pt x="170" y="161"/>
                  </a:moveTo>
                  <a:cubicBezTo>
                    <a:pt x="207" y="112"/>
                    <a:pt x="207" y="112"/>
                    <a:pt x="207" y="112"/>
                  </a:cubicBezTo>
                  <a:cubicBezTo>
                    <a:pt x="225" y="140"/>
                    <a:pt x="220" y="177"/>
                    <a:pt x="195" y="200"/>
                  </a:cubicBezTo>
                  <a:cubicBezTo>
                    <a:pt x="188" y="207"/>
                    <a:pt x="180" y="211"/>
                    <a:pt x="172" y="214"/>
                  </a:cubicBezTo>
                  <a:lnTo>
                    <a:pt x="170" y="161"/>
                  </a:lnTo>
                  <a:close/>
                  <a:moveTo>
                    <a:pt x="61" y="238"/>
                  </a:moveTo>
                  <a:cubicBezTo>
                    <a:pt x="88" y="213"/>
                    <a:pt x="88" y="213"/>
                    <a:pt x="88" y="213"/>
                  </a:cubicBezTo>
                  <a:cubicBezTo>
                    <a:pt x="106" y="230"/>
                    <a:pt x="130" y="238"/>
                    <a:pt x="153" y="237"/>
                  </a:cubicBezTo>
                  <a:cubicBezTo>
                    <a:pt x="168" y="272"/>
                    <a:pt x="168" y="272"/>
                    <a:pt x="168" y="272"/>
                  </a:cubicBezTo>
                  <a:cubicBezTo>
                    <a:pt x="130" y="278"/>
                    <a:pt x="90" y="266"/>
                    <a:pt x="61" y="238"/>
                  </a:cubicBezTo>
                  <a:close/>
                  <a:moveTo>
                    <a:pt x="265" y="193"/>
                  </a:moveTo>
                  <a:cubicBezTo>
                    <a:pt x="258" y="211"/>
                    <a:pt x="248" y="227"/>
                    <a:pt x="233" y="241"/>
                  </a:cubicBezTo>
                  <a:cubicBezTo>
                    <a:pt x="215" y="257"/>
                    <a:pt x="195" y="267"/>
                    <a:pt x="173" y="271"/>
                  </a:cubicBezTo>
                  <a:cubicBezTo>
                    <a:pt x="172" y="234"/>
                    <a:pt x="172" y="234"/>
                    <a:pt x="172" y="234"/>
                  </a:cubicBezTo>
                  <a:cubicBezTo>
                    <a:pt x="185" y="230"/>
                    <a:pt x="197" y="224"/>
                    <a:pt x="208" y="214"/>
                  </a:cubicBezTo>
                  <a:cubicBezTo>
                    <a:pt x="218" y="205"/>
                    <a:pt x="225" y="194"/>
                    <a:pt x="230" y="182"/>
                  </a:cubicBezTo>
                  <a:lnTo>
                    <a:pt x="265" y="193"/>
                  </a:lnTo>
                  <a:close/>
                  <a:moveTo>
                    <a:pt x="269" y="180"/>
                  </a:moveTo>
                  <a:cubicBezTo>
                    <a:pt x="234" y="169"/>
                    <a:pt x="234" y="169"/>
                    <a:pt x="234" y="169"/>
                  </a:cubicBezTo>
                  <a:cubicBezTo>
                    <a:pt x="240" y="144"/>
                    <a:pt x="235" y="117"/>
                    <a:pt x="219" y="96"/>
                  </a:cubicBezTo>
                  <a:cubicBezTo>
                    <a:pt x="241" y="66"/>
                    <a:pt x="241" y="66"/>
                    <a:pt x="241" y="66"/>
                  </a:cubicBezTo>
                  <a:cubicBezTo>
                    <a:pt x="270" y="98"/>
                    <a:pt x="279" y="141"/>
                    <a:pt x="269" y="180"/>
                  </a:cubicBezTo>
                  <a:close/>
                  <a:moveTo>
                    <a:pt x="157" y="159"/>
                  </a:moveTo>
                  <a:cubicBezTo>
                    <a:pt x="152" y="163"/>
                    <a:pt x="144" y="163"/>
                    <a:pt x="139" y="158"/>
                  </a:cubicBezTo>
                  <a:cubicBezTo>
                    <a:pt x="134" y="152"/>
                    <a:pt x="134" y="144"/>
                    <a:pt x="140" y="139"/>
                  </a:cubicBezTo>
                  <a:cubicBezTo>
                    <a:pt x="145" y="134"/>
                    <a:pt x="153" y="135"/>
                    <a:pt x="158" y="140"/>
                  </a:cubicBezTo>
                  <a:cubicBezTo>
                    <a:pt x="163" y="145"/>
                    <a:pt x="163" y="154"/>
                    <a:pt x="157" y="159"/>
                  </a:cubicBezTo>
                  <a:close/>
                  <a:moveTo>
                    <a:pt x="240" y="64"/>
                  </a:moveTo>
                  <a:cubicBezTo>
                    <a:pt x="208" y="84"/>
                    <a:pt x="208" y="84"/>
                    <a:pt x="208" y="84"/>
                  </a:cubicBezTo>
                  <a:cubicBezTo>
                    <a:pt x="188" y="66"/>
                    <a:pt x="161" y="58"/>
                    <a:pt x="136" y="62"/>
                  </a:cubicBezTo>
                  <a:cubicBezTo>
                    <a:pt x="128" y="26"/>
                    <a:pt x="128" y="26"/>
                    <a:pt x="128" y="26"/>
                  </a:cubicBezTo>
                  <a:cubicBezTo>
                    <a:pt x="168" y="19"/>
                    <a:pt x="210" y="32"/>
                    <a:pt x="240" y="64"/>
                  </a:cubicBezTo>
                  <a:close/>
                  <a:moveTo>
                    <a:pt x="115" y="29"/>
                  </a:moveTo>
                  <a:cubicBezTo>
                    <a:pt x="123" y="65"/>
                    <a:pt x="123" y="65"/>
                    <a:pt x="123" y="65"/>
                  </a:cubicBezTo>
                  <a:cubicBezTo>
                    <a:pt x="111" y="68"/>
                    <a:pt x="99" y="75"/>
                    <a:pt x="89" y="84"/>
                  </a:cubicBezTo>
                  <a:cubicBezTo>
                    <a:pt x="79" y="93"/>
                    <a:pt x="71" y="105"/>
                    <a:pt x="66" y="118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35" y="92"/>
                    <a:pt x="47" y="73"/>
                    <a:pt x="64" y="57"/>
                  </a:cubicBezTo>
                  <a:cubicBezTo>
                    <a:pt x="79" y="43"/>
                    <a:pt x="97" y="34"/>
                    <a:pt x="115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IN" sz="1798" kern="0">
                <a:solidFill>
                  <a:srgbClr val="FFFFFF"/>
                </a:solidFill>
              </a:endParaRPr>
            </a:p>
          </p:txBody>
        </p:sp>
        <p:sp>
          <p:nvSpPr>
            <p:cNvPr id="6" name="Freeform 36"/>
            <p:cNvSpPr>
              <a:spLocks noEditPoints="1"/>
            </p:cNvSpPr>
            <p:nvPr/>
          </p:nvSpPr>
          <p:spPr bwMode="auto">
            <a:xfrm>
              <a:off x="3490" y="1809"/>
              <a:ext cx="708" cy="707"/>
            </a:xfrm>
            <a:custGeom>
              <a:avLst/>
              <a:gdLst>
                <a:gd name="T0" fmla="*/ 123 w 297"/>
                <a:gd name="T1" fmla="*/ 292 h 297"/>
                <a:gd name="T2" fmla="*/ 145 w 297"/>
                <a:gd name="T3" fmla="*/ 295 h 297"/>
                <a:gd name="T4" fmla="*/ 297 w 297"/>
                <a:gd name="T5" fmla="*/ 152 h 297"/>
                <a:gd name="T6" fmla="*/ 294 w 297"/>
                <a:gd name="T7" fmla="*/ 152 h 297"/>
                <a:gd name="T8" fmla="*/ 294 w 297"/>
                <a:gd name="T9" fmla="*/ 120 h 297"/>
                <a:gd name="T10" fmla="*/ 293 w 297"/>
                <a:gd name="T11" fmla="*/ 128 h 297"/>
                <a:gd name="T12" fmla="*/ 286 w 297"/>
                <a:gd name="T13" fmla="*/ 99 h 297"/>
                <a:gd name="T14" fmla="*/ 107 w 297"/>
                <a:gd name="T15" fmla="*/ 291 h 297"/>
                <a:gd name="T16" fmla="*/ 107 w 297"/>
                <a:gd name="T17" fmla="*/ 291 h 297"/>
                <a:gd name="T18" fmla="*/ 79 w 297"/>
                <a:gd name="T19" fmla="*/ 280 h 297"/>
                <a:gd name="T20" fmla="*/ 61 w 297"/>
                <a:gd name="T21" fmla="*/ 266 h 297"/>
                <a:gd name="T22" fmla="*/ 294 w 297"/>
                <a:gd name="T23" fmla="*/ 175 h 297"/>
                <a:gd name="T24" fmla="*/ 292 w 297"/>
                <a:gd name="T25" fmla="*/ 175 h 297"/>
                <a:gd name="T26" fmla="*/ 278 w 297"/>
                <a:gd name="T27" fmla="*/ 76 h 297"/>
                <a:gd name="T28" fmla="*/ 279 w 297"/>
                <a:gd name="T29" fmla="*/ 84 h 297"/>
                <a:gd name="T30" fmla="*/ 271 w 297"/>
                <a:gd name="T31" fmla="*/ 233 h 297"/>
                <a:gd name="T32" fmla="*/ 28 w 297"/>
                <a:gd name="T33" fmla="*/ 63 h 297"/>
                <a:gd name="T34" fmla="*/ 28 w 297"/>
                <a:gd name="T35" fmla="*/ 63 h 297"/>
                <a:gd name="T36" fmla="*/ 237 w 297"/>
                <a:gd name="T37" fmla="*/ 265 h 297"/>
                <a:gd name="T38" fmla="*/ 168 w 297"/>
                <a:gd name="T39" fmla="*/ 293 h 297"/>
                <a:gd name="T40" fmla="*/ 43 w 297"/>
                <a:gd name="T41" fmla="*/ 45 h 297"/>
                <a:gd name="T42" fmla="*/ 287 w 297"/>
                <a:gd name="T43" fmla="*/ 197 h 297"/>
                <a:gd name="T44" fmla="*/ 288 w 297"/>
                <a:gd name="T45" fmla="*/ 190 h 297"/>
                <a:gd name="T46" fmla="*/ 219 w 297"/>
                <a:gd name="T47" fmla="*/ 279 h 297"/>
                <a:gd name="T48" fmla="*/ 198 w 297"/>
                <a:gd name="T49" fmla="*/ 289 h 297"/>
                <a:gd name="T50" fmla="*/ 198 w 297"/>
                <a:gd name="T51" fmla="*/ 289 h 297"/>
                <a:gd name="T52" fmla="*/ 282 w 297"/>
                <a:gd name="T53" fmla="*/ 212 h 297"/>
                <a:gd name="T54" fmla="*/ 249 w 297"/>
                <a:gd name="T55" fmla="*/ 255 h 297"/>
                <a:gd name="T56" fmla="*/ 249 w 297"/>
                <a:gd name="T57" fmla="*/ 255 h 297"/>
                <a:gd name="T58" fmla="*/ 1 w 297"/>
                <a:gd name="T59" fmla="*/ 134 h 297"/>
                <a:gd name="T60" fmla="*/ 171 w 297"/>
                <a:gd name="T61" fmla="*/ 4 h 297"/>
                <a:gd name="T62" fmla="*/ 164 w 297"/>
                <a:gd name="T63" fmla="*/ 4 h 297"/>
                <a:gd name="T64" fmla="*/ 148 w 297"/>
                <a:gd name="T65" fmla="*/ 0 h 297"/>
                <a:gd name="T66" fmla="*/ 7 w 297"/>
                <a:gd name="T67" fmla="*/ 112 h 297"/>
                <a:gd name="T68" fmla="*/ 7 w 297"/>
                <a:gd name="T69" fmla="*/ 112 h 297"/>
                <a:gd name="T70" fmla="*/ 0 w 297"/>
                <a:gd name="T71" fmla="*/ 157 h 297"/>
                <a:gd name="T72" fmla="*/ 125 w 297"/>
                <a:gd name="T73" fmla="*/ 4 h 297"/>
                <a:gd name="T74" fmla="*/ 118 w 297"/>
                <a:gd name="T75" fmla="*/ 6 h 297"/>
                <a:gd name="T76" fmla="*/ 80 w 297"/>
                <a:gd name="T77" fmla="*/ 17 h 297"/>
                <a:gd name="T78" fmla="*/ 95 w 297"/>
                <a:gd name="T79" fmla="*/ 13 h 297"/>
                <a:gd name="T80" fmla="*/ 94 w 297"/>
                <a:gd name="T81" fmla="*/ 11 h 297"/>
                <a:gd name="T82" fmla="*/ 60 w 297"/>
                <a:gd name="T83" fmla="*/ 30 h 297"/>
                <a:gd name="T84" fmla="*/ 62 w 297"/>
                <a:gd name="T85" fmla="*/ 32 h 297"/>
                <a:gd name="T86" fmla="*/ 13 w 297"/>
                <a:gd name="T87" fmla="*/ 89 h 297"/>
                <a:gd name="T88" fmla="*/ 194 w 297"/>
                <a:gd name="T89" fmla="*/ 10 h 297"/>
                <a:gd name="T90" fmla="*/ 186 w 297"/>
                <a:gd name="T91" fmla="*/ 8 h 297"/>
                <a:gd name="T92" fmla="*/ 236 w 297"/>
                <a:gd name="T93" fmla="*/ 29 h 297"/>
                <a:gd name="T94" fmla="*/ 32 w 297"/>
                <a:gd name="T95" fmla="*/ 241 h 297"/>
                <a:gd name="T96" fmla="*/ 32 w 297"/>
                <a:gd name="T97" fmla="*/ 241 h 297"/>
                <a:gd name="T98" fmla="*/ 3 w 297"/>
                <a:gd name="T99" fmla="*/ 179 h 297"/>
                <a:gd name="T100" fmla="*/ 44 w 297"/>
                <a:gd name="T101" fmla="*/ 251 h 297"/>
                <a:gd name="T102" fmla="*/ 252 w 297"/>
                <a:gd name="T103" fmla="*/ 47 h 297"/>
                <a:gd name="T104" fmla="*/ 247 w 297"/>
                <a:gd name="T105" fmla="*/ 41 h 297"/>
                <a:gd name="T106" fmla="*/ 7 w 297"/>
                <a:gd name="T107" fmla="*/ 194 h 297"/>
                <a:gd name="T108" fmla="*/ 267 w 297"/>
                <a:gd name="T109" fmla="*/ 64 h 297"/>
                <a:gd name="T110" fmla="*/ 263 w 297"/>
                <a:gd name="T111" fmla="*/ 58 h 297"/>
                <a:gd name="T112" fmla="*/ 215 w 297"/>
                <a:gd name="T113" fmla="*/ 19 h 297"/>
                <a:gd name="T114" fmla="*/ 208 w 297"/>
                <a:gd name="T115" fmla="*/ 16 h 297"/>
                <a:gd name="T116" fmla="*/ 19 w 297"/>
                <a:gd name="T117" fmla="*/ 222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7" h="297">
                  <a:moveTo>
                    <a:pt x="122" y="295"/>
                  </a:moveTo>
                  <a:cubicBezTo>
                    <a:pt x="125" y="295"/>
                    <a:pt x="127" y="296"/>
                    <a:pt x="130" y="296"/>
                  </a:cubicBezTo>
                  <a:cubicBezTo>
                    <a:pt x="130" y="295"/>
                    <a:pt x="130" y="294"/>
                    <a:pt x="130" y="294"/>
                  </a:cubicBezTo>
                  <a:cubicBezTo>
                    <a:pt x="128" y="293"/>
                    <a:pt x="125" y="293"/>
                    <a:pt x="123" y="292"/>
                  </a:cubicBezTo>
                  <a:cubicBezTo>
                    <a:pt x="123" y="293"/>
                    <a:pt x="123" y="294"/>
                    <a:pt x="122" y="295"/>
                  </a:cubicBezTo>
                  <a:close/>
                  <a:moveTo>
                    <a:pt x="153" y="297"/>
                  </a:moveTo>
                  <a:cubicBezTo>
                    <a:pt x="153" y="296"/>
                    <a:pt x="153" y="295"/>
                    <a:pt x="153" y="295"/>
                  </a:cubicBezTo>
                  <a:cubicBezTo>
                    <a:pt x="150" y="295"/>
                    <a:pt x="148" y="295"/>
                    <a:pt x="145" y="295"/>
                  </a:cubicBezTo>
                  <a:cubicBezTo>
                    <a:pt x="145" y="295"/>
                    <a:pt x="145" y="296"/>
                    <a:pt x="145" y="297"/>
                  </a:cubicBezTo>
                  <a:cubicBezTo>
                    <a:pt x="148" y="297"/>
                    <a:pt x="150" y="297"/>
                    <a:pt x="153" y="297"/>
                  </a:cubicBezTo>
                  <a:close/>
                  <a:moveTo>
                    <a:pt x="295" y="152"/>
                  </a:moveTo>
                  <a:cubicBezTo>
                    <a:pt x="296" y="152"/>
                    <a:pt x="296" y="152"/>
                    <a:pt x="297" y="152"/>
                  </a:cubicBezTo>
                  <a:cubicBezTo>
                    <a:pt x="297" y="149"/>
                    <a:pt x="297" y="147"/>
                    <a:pt x="297" y="144"/>
                  </a:cubicBezTo>
                  <a:cubicBezTo>
                    <a:pt x="296" y="144"/>
                    <a:pt x="296" y="144"/>
                    <a:pt x="295" y="144"/>
                  </a:cubicBezTo>
                  <a:cubicBezTo>
                    <a:pt x="295" y="144"/>
                    <a:pt x="295" y="144"/>
                    <a:pt x="294" y="144"/>
                  </a:cubicBezTo>
                  <a:cubicBezTo>
                    <a:pt x="294" y="147"/>
                    <a:pt x="294" y="149"/>
                    <a:pt x="294" y="152"/>
                  </a:cubicBezTo>
                  <a:cubicBezTo>
                    <a:pt x="295" y="152"/>
                    <a:pt x="295" y="152"/>
                    <a:pt x="295" y="152"/>
                  </a:cubicBezTo>
                  <a:close/>
                  <a:moveTo>
                    <a:pt x="293" y="128"/>
                  </a:moveTo>
                  <a:cubicBezTo>
                    <a:pt x="294" y="128"/>
                    <a:pt x="295" y="128"/>
                    <a:pt x="295" y="128"/>
                  </a:cubicBezTo>
                  <a:cubicBezTo>
                    <a:pt x="295" y="126"/>
                    <a:pt x="295" y="123"/>
                    <a:pt x="294" y="120"/>
                  </a:cubicBezTo>
                  <a:cubicBezTo>
                    <a:pt x="294" y="121"/>
                    <a:pt x="293" y="121"/>
                    <a:pt x="292" y="121"/>
                  </a:cubicBezTo>
                  <a:cubicBezTo>
                    <a:pt x="292" y="121"/>
                    <a:pt x="292" y="121"/>
                    <a:pt x="292" y="121"/>
                  </a:cubicBezTo>
                  <a:cubicBezTo>
                    <a:pt x="292" y="124"/>
                    <a:pt x="292" y="126"/>
                    <a:pt x="293" y="129"/>
                  </a:cubicBezTo>
                  <a:cubicBezTo>
                    <a:pt x="293" y="128"/>
                    <a:pt x="293" y="128"/>
                    <a:pt x="293" y="128"/>
                  </a:cubicBezTo>
                  <a:close/>
                  <a:moveTo>
                    <a:pt x="288" y="106"/>
                  </a:moveTo>
                  <a:cubicBezTo>
                    <a:pt x="289" y="106"/>
                    <a:pt x="290" y="105"/>
                    <a:pt x="290" y="105"/>
                  </a:cubicBezTo>
                  <a:cubicBezTo>
                    <a:pt x="289" y="103"/>
                    <a:pt x="289" y="100"/>
                    <a:pt x="288" y="98"/>
                  </a:cubicBezTo>
                  <a:cubicBezTo>
                    <a:pt x="287" y="98"/>
                    <a:pt x="287" y="98"/>
                    <a:pt x="286" y="99"/>
                  </a:cubicBezTo>
                  <a:cubicBezTo>
                    <a:pt x="286" y="99"/>
                    <a:pt x="286" y="99"/>
                    <a:pt x="285" y="99"/>
                  </a:cubicBezTo>
                  <a:cubicBezTo>
                    <a:pt x="286" y="101"/>
                    <a:pt x="287" y="103"/>
                    <a:pt x="288" y="106"/>
                  </a:cubicBezTo>
                  <a:cubicBezTo>
                    <a:pt x="288" y="106"/>
                    <a:pt x="288" y="106"/>
                    <a:pt x="288" y="106"/>
                  </a:cubicBezTo>
                  <a:close/>
                  <a:moveTo>
                    <a:pt x="107" y="291"/>
                  </a:moveTo>
                  <a:cubicBezTo>
                    <a:pt x="108" y="291"/>
                    <a:pt x="108" y="290"/>
                    <a:pt x="108" y="289"/>
                  </a:cubicBezTo>
                  <a:cubicBezTo>
                    <a:pt x="106" y="288"/>
                    <a:pt x="103" y="288"/>
                    <a:pt x="101" y="287"/>
                  </a:cubicBezTo>
                  <a:cubicBezTo>
                    <a:pt x="101" y="288"/>
                    <a:pt x="100" y="288"/>
                    <a:pt x="100" y="289"/>
                  </a:cubicBezTo>
                  <a:cubicBezTo>
                    <a:pt x="103" y="290"/>
                    <a:pt x="105" y="291"/>
                    <a:pt x="107" y="291"/>
                  </a:cubicBezTo>
                  <a:close/>
                  <a:moveTo>
                    <a:pt x="86" y="283"/>
                  </a:moveTo>
                  <a:cubicBezTo>
                    <a:pt x="86" y="283"/>
                    <a:pt x="87" y="282"/>
                    <a:pt x="87" y="281"/>
                  </a:cubicBezTo>
                  <a:cubicBezTo>
                    <a:pt x="85" y="280"/>
                    <a:pt x="82" y="279"/>
                    <a:pt x="80" y="278"/>
                  </a:cubicBezTo>
                  <a:cubicBezTo>
                    <a:pt x="80" y="278"/>
                    <a:pt x="79" y="279"/>
                    <a:pt x="79" y="280"/>
                  </a:cubicBezTo>
                  <a:cubicBezTo>
                    <a:pt x="81" y="281"/>
                    <a:pt x="84" y="282"/>
                    <a:pt x="86" y="283"/>
                  </a:cubicBezTo>
                  <a:close/>
                  <a:moveTo>
                    <a:pt x="66" y="272"/>
                  </a:moveTo>
                  <a:cubicBezTo>
                    <a:pt x="66" y="271"/>
                    <a:pt x="67" y="271"/>
                    <a:pt x="68" y="270"/>
                  </a:cubicBezTo>
                  <a:cubicBezTo>
                    <a:pt x="65" y="269"/>
                    <a:pt x="63" y="267"/>
                    <a:pt x="61" y="266"/>
                  </a:cubicBezTo>
                  <a:cubicBezTo>
                    <a:pt x="61" y="266"/>
                    <a:pt x="60" y="267"/>
                    <a:pt x="60" y="268"/>
                  </a:cubicBezTo>
                  <a:cubicBezTo>
                    <a:pt x="62" y="269"/>
                    <a:pt x="64" y="271"/>
                    <a:pt x="66" y="272"/>
                  </a:cubicBezTo>
                  <a:close/>
                  <a:moveTo>
                    <a:pt x="293" y="175"/>
                  </a:moveTo>
                  <a:cubicBezTo>
                    <a:pt x="294" y="175"/>
                    <a:pt x="294" y="175"/>
                    <a:pt x="294" y="175"/>
                  </a:cubicBezTo>
                  <a:cubicBezTo>
                    <a:pt x="295" y="173"/>
                    <a:pt x="295" y="170"/>
                    <a:pt x="296" y="168"/>
                  </a:cubicBezTo>
                  <a:cubicBezTo>
                    <a:pt x="295" y="168"/>
                    <a:pt x="295" y="168"/>
                    <a:pt x="294" y="167"/>
                  </a:cubicBezTo>
                  <a:cubicBezTo>
                    <a:pt x="294" y="167"/>
                    <a:pt x="293" y="167"/>
                    <a:pt x="293" y="167"/>
                  </a:cubicBezTo>
                  <a:cubicBezTo>
                    <a:pt x="293" y="170"/>
                    <a:pt x="292" y="172"/>
                    <a:pt x="292" y="175"/>
                  </a:cubicBezTo>
                  <a:cubicBezTo>
                    <a:pt x="292" y="175"/>
                    <a:pt x="293" y="175"/>
                    <a:pt x="293" y="175"/>
                  </a:cubicBezTo>
                  <a:close/>
                  <a:moveTo>
                    <a:pt x="279" y="84"/>
                  </a:moveTo>
                  <a:cubicBezTo>
                    <a:pt x="280" y="84"/>
                    <a:pt x="281" y="84"/>
                    <a:pt x="282" y="83"/>
                  </a:cubicBezTo>
                  <a:cubicBezTo>
                    <a:pt x="280" y="81"/>
                    <a:pt x="279" y="79"/>
                    <a:pt x="278" y="76"/>
                  </a:cubicBezTo>
                  <a:cubicBezTo>
                    <a:pt x="277" y="77"/>
                    <a:pt x="277" y="77"/>
                    <a:pt x="276" y="77"/>
                  </a:cubicBezTo>
                  <a:cubicBezTo>
                    <a:pt x="276" y="77"/>
                    <a:pt x="276" y="78"/>
                    <a:pt x="276" y="78"/>
                  </a:cubicBezTo>
                  <a:cubicBezTo>
                    <a:pt x="277" y="80"/>
                    <a:pt x="278" y="82"/>
                    <a:pt x="279" y="84"/>
                  </a:cubicBezTo>
                  <a:cubicBezTo>
                    <a:pt x="279" y="84"/>
                    <a:pt x="279" y="84"/>
                    <a:pt x="279" y="84"/>
                  </a:cubicBezTo>
                  <a:close/>
                  <a:moveTo>
                    <a:pt x="266" y="239"/>
                  </a:moveTo>
                  <a:cubicBezTo>
                    <a:pt x="266" y="239"/>
                    <a:pt x="266" y="239"/>
                    <a:pt x="266" y="239"/>
                  </a:cubicBezTo>
                  <a:cubicBezTo>
                    <a:pt x="268" y="237"/>
                    <a:pt x="269" y="235"/>
                    <a:pt x="271" y="233"/>
                  </a:cubicBezTo>
                  <a:cubicBezTo>
                    <a:pt x="271" y="233"/>
                    <a:pt x="271" y="233"/>
                    <a:pt x="271" y="233"/>
                  </a:cubicBezTo>
                  <a:cubicBezTo>
                    <a:pt x="270" y="232"/>
                    <a:pt x="269" y="232"/>
                    <a:pt x="269" y="231"/>
                  </a:cubicBezTo>
                  <a:cubicBezTo>
                    <a:pt x="267" y="234"/>
                    <a:pt x="266" y="236"/>
                    <a:pt x="264" y="237"/>
                  </a:cubicBezTo>
                  <a:cubicBezTo>
                    <a:pt x="265" y="238"/>
                    <a:pt x="265" y="238"/>
                    <a:pt x="266" y="239"/>
                  </a:cubicBezTo>
                  <a:close/>
                  <a:moveTo>
                    <a:pt x="28" y="63"/>
                  </a:moveTo>
                  <a:cubicBezTo>
                    <a:pt x="26" y="65"/>
                    <a:pt x="25" y="67"/>
                    <a:pt x="23" y="69"/>
                  </a:cubicBezTo>
                  <a:cubicBezTo>
                    <a:pt x="24" y="69"/>
                    <a:pt x="25" y="70"/>
                    <a:pt x="26" y="70"/>
                  </a:cubicBezTo>
                  <a:cubicBezTo>
                    <a:pt x="27" y="68"/>
                    <a:pt x="28" y="66"/>
                    <a:pt x="30" y="64"/>
                  </a:cubicBezTo>
                  <a:cubicBezTo>
                    <a:pt x="29" y="64"/>
                    <a:pt x="28" y="63"/>
                    <a:pt x="28" y="63"/>
                  </a:cubicBezTo>
                  <a:close/>
                  <a:moveTo>
                    <a:pt x="231" y="269"/>
                  </a:moveTo>
                  <a:cubicBezTo>
                    <a:pt x="232" y="270"/>
                    <a:pt x="232" y="270"/>
                    <a:pt x="233" y="271"/>
                  </a:cubicBezTo>
                  <a:cubicBezTo>
                    <a:pt x="235" y="270"/>
                    <a:pt x="237" y="268"/>
                    <a:pt x="239" y="267"/>
                  </a:cubicBezTo>
                  <a:cubicBezTo>
                    <a:pt x="238" y="266"/>
                    <a:pt x="238" y="265"/>
                    <a:pt x="237" y="265"/>
                  </a:cubicBezTo>
                  <a:cubicBezTo>
                    <a:pt x="235" y="266"/>
                    <a:pt x="233" y="268"/>
                    <a:pt x="231" y="269"/>
                  </a:cubicBezTo>
                  <a:close/>
                  <a:moveTo>
                    <a:pt x="176" y="295"/>
                  </a:moveTo>
                  <a:cubicBezTo>
                    <a:pt x="176" y="294"/>
                    <a:pt x="175" y="293"/>
                    <a:pt x="175" y="292"/>
                  </a:cubicBezTo>
                  <a:cubicBezTo>
                    <a:pt x="173" y="293"/>
                    <a:pt x="170" y="293"/>
                    <a:pt x="168" y="293"/>
                  </a:cubicBezTo>
                  <a:cubicBezTo>
                    <a:pt x="168" y="294"/>
                    <a:pt x="168" y="295"/>
                    <a:pt x="168" y="296"/>
                  </a:cubicBezTo>
                  <a:cubicBezTo>
                    <a:pt x="171" y="296"/>
                    <a:pt x="173" y="295"/>
                    <a:pt x="176" y="295"/>
                  </a:cubicBezTo>
                  <a:close/>
                  <a:moveTo>
                    <a:pt x="45" y="47"/>
                  </a:moveTo>
                  <a:cubicBezTo>
                    <a:pt x="44" y="46"/>
                    <a:pt x="43" y="45"/>
                    <a:pt x="43" y="45"/>
                  </a:cubicBezTo>
                  <a:cubicBezTo>
                    <a:pt x="41" y="47"/>
                    <a:pt x="39" y="48"/>
                    <a:pt x="38" y="50"/>
                  </a:cubicBezTo>
                  <a:cubicBezTo>
                    <a:pt x="38" y="51"/>
                    <a:pt x="39" y="51"/>
                    <a:pt x="39" y="52"/>
                  </a:cubicBezTo>
                  <a:cubicBezTo>
                    <a:pt x="41" y="50"/>
                    <a:pt x="43" y="48"/>
                    <a:pt x="45" y="47"/>
                  </a:cubicBezTo>
                  <a:close/>
                  <a:moveTo>
                    <a:pt x="287" y="197"/>
                  </a:moveTo>
                  <a:cubicBezTo>
                    <a:pt x="288" y="198"/>
                    <a:pt x="288" y="198"/>
                    <a:pt x="288" y="198"/>
                  </a:cubicBezTo>
                  <a:cubicBezTo>
                    <a:pt x="289" y="195"/>
                    <a:pt x="290" y="193"/>
                    <a:pt x="291" y="191"/>
                  </a:cubicBezTo>
                  <a:cubicBezTo>
                    <a:pt x="291" y="191"/>
                    <a:pt x="290" y="190"/>
                    <a:pt x="290" y="190"/>
                  </a:cubicBezTo>
                  <a:cubicBezTo>
                    <a:pt x="289" y="190"/>
                    <a:pt x="289" y="190"/>
                    <a:pt x="288" y="190"/>
                  </a:cubicBezTo>
                  <a:cubicBezTo>
                    <a:pt x="288" y="192"/>
                    <a:pt x="287" y="195"/>
                    <a:pt x="286" y="197"/>
                  </a:cubicBezTo>
                  <a:cubicBezTo>
                    <a:pt x="287" y="197"/>
                    <a:pt x="287" y="197"/>
                    <a:pt x="287" y="197"/>
                  </a:cubicBezTo>
                  <a:close/>
                  <a:moveTo>
                    <a:pt x="213" y="283"/>
                  </a:moveTo>
                  <a:cubicBezTo>
                    <a:pt x="215" y="282"/>
                    <a:pt x="217" y="280"/>
                    <a:pt x="219" y="279"/>
                  </a:cubicBezTo>
                  <a:cubicBezTo>
                    <a:pt x="219" y="279"/>
                    <a:pt x="218" y="278"/>
                    <a:pt x="218" y="277"/>
                  </a:cubicBezTo>
                  <a:cubicBezTo>
                    <a:pt x="216" y="278"/>
                    <a:pt x="214" y="279"/>
                    <a:pt x="211" y="280"/>
                  </a:cubicBezTo>
                  <a:cubicBezTo>
                    <a:pt x="212" y="281"/>
                    <a:pt x="212" y="282"/>
                    <a:pt x="213" y="283"/>
                  </a:cubicBezTo>
                  <a:close/>
                  <a:moveTo>
                    <a:pt x="198" y="289"/>
                  </a:moveTo>
                  <a:cubicBezTo>
                    <a:pt x="198" y="288"/>
                    <a:pt x="197" y="287"/>
                    <a:pt x="197" y="286"/>
                  </a:cubicBezTo>
                  <a:cubicBezTo>
                    <a:pt x="195" y="287"/>
                    <a:pt x="192" y="288"/>
                    <a:pt x="190" y="289"/>
                  </a:cubicBezTo>
                  <a:cubicBezTo>
                    <a:pt x="190" y="289"/>
                    <a:pt x="191" y="290"/>
                    <a:pt x="191" y="291"/>
                  </a:cubicBezTo>
                  <a:cubicBezTo>
                    <a:pt x="193" y="290"/>
                    <a:pt x="196" y="290"/>
                    <a:pt x="198" y="289"/>
                  </a:cubicBezTo>
                  <a:close/>
                  <a:moveTo>
                    <a:pt x="278" y="219"/>
                  </a:moveTo>
                  <a:cubicBezTo>
                    <a:pt x="279" y="219"/>
                    <a:pt x="279" y="219"/>
                    <a:pt x="279" y="219"/>
                  </a:cubicBezTo>
                  <a:cubicBezTo>
                    <a:pt x="280" y="217"/>
                    <a:pt x="281" y="215"/>
                    <a:pt x="282" y="213"/>
                  </a:cubicBezTo>
                  <a:cubicBezTo>
                    <a:pt x="282" y="212"/>
                    <a:pt x="282" y="212"/>
                    <a:pt x="282" y="212"/>
                  </a:cubicBezTo>
                  <a:cubicBezTo>
                    <a:pt x="281" y="212"/>
                    <a:pt x="281" y="212"/>
                    <a:pt x="280" y="212"/>
                  </a:cubicBezTo>
                  <a:cubicBezTo>
                    <a:pt x="279" y="214"/>
                    <a:pt x="278" y="216"/>
                    <a:pt x="277" y="218"/>
                  </a:cubicBezTo>
                  <a:cubicBezTo>
                    <a:pt x="277" y="218"/>
                    <a:pt x="278" y="219"/>
                    <a:pt x="278" y="219"/>
                  </a:cubicBezTo>
                  <a:close/>
                  <a:moveTo>
                    <a:pt x="249" y="255"/>
                  </a:moveTo>
                  <a:cubicBezTo>
                    <a:pt x="250" y="255"/>
                    <a:pt x="250" y="256"/>
                    <a:pt x="251" y="256"/>
                  </a:cubicBezTo>
                  <a:cubicBezTo>
                    <a:pt x="253" y="255"/>
                    <a:pt x="254" y="253"/>
                    <a:pt x="256" y="251"/>
                  </a:cubicBezTo>
                  <a:cubicBezTo>
                    <a:pt x="255" y="250"/>
                    <a:pt x="255" y="250"/>
                    <a:pt x="254" y="249"/>
                  </a:cubicBezTo>
                  <a:cubicBezTo>
                    <a:pt x="252" y="251"/>
                    <a:pt x="251" y="253"/>
                    <a:pt x="249" y="255"/>
                  </a:cubicBezTo>
                  <a:close/>
                  <a:moveTo>
                    <a:pt x="3" y="134"/>
                  </a:moveTo>
                  <a:cubicBezTo>
                    <a:pt x="4" y="132"/>
                    <a:pt x="4" y="129"/>
                    <a:pt x="4" y="126"/>
                  </a:cubicBezTo>
                  <a:cubicBezTo>
                    <a:pt x="4" y="126"/>
                    <a:pt x="3" y="126"/>
                    <a:pt x="2" y="126"/>
                  </a:cubicBezTo>
                  <a:cubicBezTo>
                    <a:pt x="1" y="129"/>
                    <a:pt x="1" y="131"/>
                    <a:pt x="1" y="134"/>
                  </a:cubicBezTo>
                  <a:cubicBezTo>
                    <a:pt x="2" y="134"/>
                    <a:pt x="3" y="134"/>
                    <a:pt x="3" y="134"/>
                  </a:cubicBezTo>
                  <a:close/>
                  <a:moveTo>
                    <a:pt x="164" y="4"/>
                  </a:moveTo>
                  <a:cubicBezTo>
                    <a:pt x="166" y="4"/>
                    <a:pt x="168" y="4"/>
                    <a:pt x="171" y="5"/>
                  </a:cubicBezTo>
                  <a:cubicBezTo>
                    <a:pt x="171" y="5"/>
                    <a:pt x="171" y="4"/>
                    <a:pt x="171" y="4"/>
                  </a:cubicBezTo>
                  <a:cubicBezTo>
                    <a:pt x="171" y="3"/>
                    <a:pt x="171" y="3"/>
                    <a:pt x="171" y="2"/>
                  </a:cubicBezTo>
                  <a:cubicBezTo>
                    <a:pt x="169" y="2"/>
                    <a:pt x="166" y="2"/>
                    <a:pt x="164" y="1"/>
                  </a:cubicBezTo>
                  <a:cubicBezTo>
                    <a:pt x="164" y="2"/>
                    <a:pt x="164" y="2"/>
                    <a:pt x="164" y="3"/>
                  </a:cubicBezTo>
                  <a:cubicBezTo>
                    <a:pt x="164" y="3"/>
                    <a:pt x="164" y="3"/>
                    <a:pt x="164" y="4"/>
                  </a:cubicBezTo>
                  <a:close/>
                  <a:moveTo>
                    <a:pt x="140" y="3"/>
                  </a:moveTo>
                  <a:cubicBezTo>
                    <a:pt x="143" y="3"/>
                    <a:pt x="145" y="3"/>
                    <a:pt x="148" y="3"/>
                  </a:cubicBezTo>
                  <a:cubicBezTo>
                    <a:pt x="148" y="3"/>
                    <a:pt x="148" y="2"/>
                    <a:pt x="148" y="2"/>
                  </a:cubicBezTo>
                  <a:cubicBezTo>
                    <a:pt x="148" y="1"/>
                    <a:pt x="148" y="1"/>
                    <a:pt x="148" y="0"/>
                  </a:cubicBezTo>
                  <a:cubicBezTo>
                    <a:pt x="145" y="0"/>
                    <a:pt x="143" y="1"/>
                    <a:pt x="140" y="1"/>
                  </a:cubicBezTo>
                  <a:cubicBezTo>
                    <a:pt x="140" y="1"/>
                    <a:pt x="140" y="1"/>
                    <a:pt x="140" y="2"/>
                  </a:cubicBezTo>
                  <a:cubicBezTo>
                    <a:pt x="140" y="2"/>
                    <a:pt x="140" y="3"/>
                    <a:pt x="140" y="3"/>
                  </a:cubicBezTo>
                  <a:close/>
                  <a:moveTo>
                    <a:pt x="7" y="112"/>
                  </a:moveTo>
                  <a:cubicBezTo>
                    <a:pt x="8" y="109"/>
                    <a:pt x="9" y="107"/>
                    <a:pt x="10" y="104"/>
                  </a:cubicBezTo>
                  <a:cubicBezTo>
                    <a:pt x="9" y="104"/>
                    <a:pt x="8" y="104"/>
                    <a:pt x="7" y="104"/>
                  </a:cubicBezTo>
                  <a:cubicBezTo>
                    <a:pt x="6" y="106"/>
                    <a:pt x="6" y="109"/>
                    <a:pt x="5" y="111"/>
                  </a:cubicBezTo>
                  <a:cubicBezTo>
                    <a:pt x="6" y="111"/>
                    <a:pt x="7" y="111"/>
                    <a:pt x="7" y="112"/>
                  </a:cubicBezTo>
                  <a:close/>
                  <a:moveTo>
                    <a:pt x="3" y="157"/>
                  </a:moveTo>
                  <a:cubicBezTo>
                    <a:pt x="3" y="154"/>
                    <a:pt x="3" y="152"/>
                    <a:pt x="3" y="149"/>
                  </a:cubicBezTo>
                  <a:cubicBezTo>
                    <a:pt x="2" y="149"/>
                    <a:pt x="1" y="149"/>
                    <a:pt x="0" y="149"/>
                  </a:cubicBezTo>
                  <a:cubicBezTo>
                    <a:pt x="0" y="152"/>
                    <a:pt x="0" y="154"/>
                    <a:pt x="0" y="157"/>
                  </a:cubicBezTo>
                  <a:cubicBezTo>
                    <a:pt x="1" y="157"/>
                    <a:pt x="2" y="157"/>
                    <a:pt x="3" y="157"/>
                  </a:cubicBezTo>
                  <a:close/>
                  <a:moveTo>
                    <a:pt x="118" y="6"/>
                  </a:moveTo>
                  <a:cubicBezTo>
                    <a:pt x="120" y="6"/>
                    <a:pt x="122" y="5"/>
                    <a:pt x="125" y="5"/>
                  </a:cubicBezTo>
                  <a:cubicBezTo>
                    <a:pt x="125" y="5"/>
                    <a:pt x="125" y="4"/>
                    <a:pt x="125" y="4"/>
                  </a:cubicBezTo>
                  <a:cubicBezTo>
                    <a:pt x="125" y="3"/>
                    <a:pt x="125" y="3"/>
                    <a:pt x="124" y="2"/>
                  </a:cubicBezTo>
                  <a:cubicBezTo>
                    <a:pt x="122" y="3"/>
                    <a:pt x="119" y="3"/>
                    <a:pt x="117" y="4"/>
                  </a:cubicBezTo>
                  <a:cubicBezTo>
                    <a:pt x="117" y="4"/>
                    <a:pt x="117" y="4"/>
                    <a:pt x="117" y="5"/>
                  </a:cubicBezTo>
                  <a:cubicBezTo>
                    <a:pt x="117" y="5"/>
                    <a:pt x="117" y="6"/>
                    <a:pt x="118" y="6"/>
                  </a:cubicBezTo>
                  <a:close/>
                  <a:moveTo>
                    <a:pt x="75" y="23"/>
                  </a:moveTo>
                  <a:cubicBezTo>
                    <a:pt x="77" y="22"/>
                    <a:pt x="79" y="21"/>
                    <a:pt x="81" y="19"/>
                  </a:cubicBezTo>
                  <a:cubicBezTo>
                    <a:pt x="81" y="19"/>
                    <a:pt x="81" y="18"/>
                    <a:pt x="80" y="18"/>
                  </a:cubicBezTo>
                  <a:cubicBezTo>
                    <a:pt x="80" y="17"/>
                    <a:pt x="80" y="17"/>
                    <a:pt x="80" y="17"/>
                  </a:cubicBezTo>
                  <a:cubicBezTo>
                    <a:pt x="78" y="18"/>
                    <a:pt x="76" y="19"/>
                    <a:pt x="73" y="21"/>
                  </a:cubicBezTo>
                  <a:cubicBezTo>
                    <a:pt x="73" y="21"/>
                    <a:pt x="74" y="21"/>
                    <a:pt x="74" y="21"/>
                  </a:cubicBezTo>
                  <a:cubicBezTo>
                    <a:pt x="74" y="22"/>
                    <a:pt x="74" y="22"/>
                    <a:pt x="75" y="23"/>
                  </a:cubicBezTo>
                  <a:close/>
                  <a:moveTo>
                    <a:pt x="95" y="13"/>
                  </a:moveTo>
                  <a:cubicBezTo>
                    <a:pt x="98" y="12"/>
                    <a:pt x="100" y="11"/>
                    <a:pt x="102" y="11"/>
                  </a:cubicBezTo>
                  <a:cubicBezTo>
                    <a:pt x="102" y="10"/>
                    <a:pt x="102" y="9"/>
                    <a:pt x="102" y="9"/>
                  </a:cubicBezTo>
                  <a:cubicBezTo>
                    <a:pt x="102" y="9"/>
                    <a:pt x="102" y="8"/>
                    <a:pt x="102" y="8"/>
                  </a:cubicBezTo>
                  <a:cubicBezTo>
                    <a:pt x="99" y="9"/>
                    <a:pt x="97" y="10"/>
                    <a:pt x="94" y="11"/>
                  </a:cubicBezTo>
                  <a:cubicBezTo>
                    <a:pt x="95" y="11"/>
                    <a:pt x="95" y="11"/>
                    <a:pt x="95" y="11"/>
                  </a:cubicBezTo>
                  <a:cubicBezTo>
                    <a:pt x="95" y="12"/>
                    <a:pt x="95" y="12"/>
                    <a:pt x="95" y="13"/>
                  </a:cubicBezTo>
                  <a:close/>
                  <a:moveTo>
                    <a:pt x="62" y="32"/>
                  </a:moveTo>
                  <a:cubicBezTo>
                    <a:pt x="61" y="31"/>
                    <a:pt x="61" y="30"/>
                    <a:pt x="60" y="30"/>
                  </a:cubicBezTo>
                  <a:cubicBezTo>
                    <a:pt x="60" y="30"/>
                    <a:pt x="60" y="29"/>
                    <a:pt x="60" y="29"/>
                  </a:cubicBezTo>
                  <a:cubicBezTo>
                    <a:pt x="58" y="31"/>
                    <a:pt x="56" y="32"/>
                    <a:pt x="54" y="34"/>
                  </a:cubicBezTo>
                  <a:cubicBezTo>
                    <a:pt x="55" y="35"/>
                    <a:pt x="55" y="35"/>
                    <a:pt x="56" y="36"/>
                  </a:cubicBezTo>
                  <a:cubicBezTo>
                    <a:pt x="58" y="35"/>
                    <a:pt x="60" y="33"/>
                    <a:pt x="62" y="32"/>
                  </a:cubicBezTo>
                  <a:close/>
                  <a:moveTo>
                    <a:pt x="15" y="90"/>
                  </a:moveTo>
                  <a:cubicBezTo>
                    <a:pt x="16" y="88"/>
                    <a:pt x="17" y="86"/>
                    <a:pt x="18" y="83"/>
                  </a:cubicBezTo>
                  <a:cubicBezTo>
                    <a:pt x="17" y="83"/>
                    <a:pt x="16" y="83"/>
                    <a:pt x="16" y="82"/>
                  </a:cubicBezTo>
                  <a:cubicBezTo>
                    <a:pt x="15" y="85"/>
                    <a:pt x="14" y="87"/>
                    <a:pt x="13" y="89"/>
                  </a:cubicBezTo>
                  <a:cubicBezTo>
                    <a:pt x="13" y="89"/>
                    <a:pt x="14" y="90"/>
                    <a:pt x="15" y="90"/>
                  </a:cubicBezTo>
                  <a:close/>
                  <a:moveTo>
                    <a:pt x="186" y="8"/>
                  </a:moveTo>
                  <a:cubicBezTo>
                    <a:pt x="189" y="9"/>
                    <a:pt x="191" y="9"/>
                    <a:pt x="193" y="10"/>
                  </a:cubicBezTo>
                  <a:cubicBezTo>
                    <a:pt x="194" y="10"/>
                    <a:pt x="194" y="10"/>
                    <a:pt x="194" y="10"/>
                  </a:cubicBezTo>
                  <a:cubicBezTo>
                    <a:pt x="194" y="9"/>
                    <a:pt x="194" y="8"/>
                    <a:pt x="194" y="8"/>
                  </a:cubicBezTo>
                  <a:cubicBezTo>
                    <a:pt x="192" y="7"/>
                    <a:pt x="189" y="6"/>
                    <a:pt x="187" y="5"/>
                  </a:cubicBezTo>
                  <a:cubicBezTo>
                    <a:pt x="187" y="6"/>
                    <a:pt x="187" y="7"/>
                    <a:pt x="187" y="7"/>
                  </a:cubicBezTo>
                  <a:cubicBezTo>
                    <a:pt x="186" y="7"/>
                    <a:pt x="186" y="8"/>
                    <a:pt x="186" y="8"/>
                  </a:cubicBezTo>
                  <a:close/>
                  <a:moveTo>
                    <a:pt x="229" y="27"/>
                  </a:moveTo>
                  <a:cubicBezTo>
                    <a:pt x="231" y="28"/>
                    <a:pt x="233" y="30"/>
                    <a:pt x="235" y="31"/>
                  </a:cubicBezTo>
                  <a:cubicBezTo>
                    <a:pt x="235" y="31"/>
                    <a:pt x="235" y="31"/>
                    <a:pt x="235" y="31"/>
                  </a:cubicBezTo>
                  <a:cubicBezTo>
                    <a:pt x="235" y="30"/>
                    <a:pt x="236" y="30"/>
                    <a:pt x="236" y="29"/>
                  </a:cubicBezTo>
                  <a:cubicBezTo>
                    <a:pt x="234" y="28"/>
                    <a:pt x="232" y="26"/>
                    <a:pt x="230" y="25"/>
                  </a:cubicBezTo>
                  <a:cubicBezTo>
                    <a:pt x="230" y="25"/>
                    <a:pt x="229" y="26"/>
                    <a:pt x="229" y="27"/>
                  </a:cubicBezTo>
                  <a:cubicBezTo>
                    <a:pt x="229" y="27"/>
                    <a:pt x="229" y="27"/>
                    <a:pt x="229" y="27"/>
                  </a:cubicBezTo>
                  <a:close/>
                  <a:moveTo>
                    <a:pt x="32" y="241"/>
                  </a:moveTo>
                  <a:cubicBezTo>
                    <a:pt x="33" y="241"/>
                    <a:pt x="34" y="240"/>
                    <a:pt x="34" y="240"/>
                  </a:cubicBezTo>
                  <a:cubicBezTo>
                    <a:pt x="33" y="238"/>
                    <a:pt x="31" y="236"/>
                    <a:pt x="30" y="233"/>
                  </a:cubicBezTo>
                  <a:cubicBezTo>
                    <a:pt x="29" y="234"/>
                    <a:pt x="28" y="235"/>
                    <a:pt x="28" y="235"/>
                  </a:cubicBezTo>
                  <a:cubicBezTo>
                    <a:pt x="29" y="237"/>
                    <a:pt x="31" y="239"/>
                    <a:pt x="32" y="241"/>
                  </a:cubicBezTo>
                  <a:close/>
                  <a:moveTo>
                    <a:pt x="6" y="179"/>
                  </a:moveTo>
                  <a:cubicBezTo>
                    <a:pt x="5" y="177"/>
                    <a:pt x="5" y="174"/>
                    <a:pt x="4" y="171"/>
                  </a:cubicBezTo>
                  <a:cubicBezTo>
                    <a:pt x="4" y="172"/>
                    <a:pt x="3" y="172"/>
                    <a:pt x="2" y="172"/>
                  </a:cubicBezTo>
                  <a:cubicBezTo>
                    <a:pt x="2" y="175"/>
                    <a:pt x="3" y="177"/>
                    <a:pt x="3" y="179"/>
                  </a:cubicBezTo>
                  <a:cubicBezTo>
                    <a:pt x="4" y="179"/>
                    <a:pt x="5" y="179"/>
                    <a:pt x="6" y="179"/>
                  </a:cubicBezTo>
                  <a:close/>
                  <a:moveTo>
                    <a:pt x="48" y="258"/>
                  </a:moveTo>
                  <a:cubicBezTo>
                    <a:pt x="48" y="257"/>
                    <a:pt x="49" y="257"/>
                    <a:pt x="50" y="256"/>
                  </a:cubicBezTo>
                  <a:cubicBezTo>
                    <a:pt x="48" y="254"/>
                    <a:pt x="46" y="253"/>
                    <a:pt x="44" y="251"/>
                  </a:cubicBezTo>
                  <a:cubicBezTo>
                    <a:pt x="44" y="251"/>
                    <a:pt x="43" y="252"/>
                    <a:pt x="42" y="253"/>
                  </a:cubicBezTo>
                  <a:cubicBezTo>
                    <a:pt x="44" y="255"/>
                    <a:pt x="46" y="256"/>
                    <a:pt x="48" y="258"/>
                  </a:cubicBezTo>
                  <a:close/>
                  <a:moveTo>
                    <a:pt x="247" y="41"/>
                  </a:moveTo>
                  <a:cubicBezTo>
                    <a:pt x="249" y="43"/>
                    <a:pt x="250" y="45"/>
                    <a:pt x="252" y="47"/>
                  </a:cubicBezTo>
                  <a:cubicBezTo>
                    <a:pt x="252" y="46"/>
                    <a:pt x="252" y="46"/>
                    <a:pt x="252" y="46"/>
                  </a:cubicBezTo>
                  <a:cubicBezTo>
                    <a:pt x="253" y="46"/>
                    <a:pt x="254" y="45"/>
                    <a:pt x="254" y="45"/>
                  </a:cubicBezTo>
                  <a:cubicBezTo>
                    <a:pt x="252" y="43"/>
                    <a:pt x="250" y="41"/>
                    <a:pt x="248" y="39"/>
                  </a:cubicBezTo>
                  <a:cubicBezTo>
                    <a:pt x="248" y="40"/>
                    <a:pt x="248" y="40"/>
                    <a:pt x="247" y="41"/>
                  </a:cubicBezTo>
                  <a:cubicBezTo>
                    <a:pt x="247" y="41"/>
                    <a:pt x="247" y="41"/>
                    <a:pt x="247" y="41"/>
                  </a:cubicBezTo>
                  <a:close/>
                  <a:moveTo>
                    <a:pt x="12" y="201"/>
                  </a:moveTo>
                  <a:cubicBezTo>
                    <a:pt x="11" y="198"/>
                    <a:pt x="10" y="196"/>
                    <a:pt x="10" y="193"/>
                  </a:cubicBezTo>
                  <a:cubicBezTo>
                    <a:pt x="9" y="194"/>
                    <a:pt x="8" y="194"/>
                    <a:pt x="7" y="194"/>
                  </a:cubicBezTo>
                  <a:cubicBezTo>
                    <a:pt x="8" y="197"/>
                    <a:pt x="9" y="199"/>
                    <a:pt x="10" y="201"/>
                  </a:cubicBezTo>
                  <a:cubicBezTo>
                    <a:pt x="10" y="201"/>
                    <a:pt x="11" y="201"/>
                    <a:pt x="12" y="201"/>
                  </a:cubicBezTo>
                  <a:close/>
                  <a:moveTo>
                    <a:pt x="263" y="58"/>
                  </a:moveTo>
                  <a:cubicBezTo>
                    <a:pt x="264" y="60"/>
                    <a:pt x="266" y="62"/>
                    <a:pt x="267" y="64"/>
                  </a:cubicBezTo>
                  <a:cubicBezTo>
                    <a:pt x="267" y="64"/>
                    <a:pt x="267" y="64"/>
                    <a:pt x="267" y="64"/>
                  </a:cubicBezTo>
                  <a:cubicBezTo>
                    <a:pt x="268" y="64"/>
                    <a:pt x="269" y="63"/>
                    <a:pt x="269" y="63"/>
                  </a:cubicBezTo>
                  <a:cubicBezTo>
                    <a:pt x="268" y="61"/>
                    <a:pt x="266" y="59"/>
                    <a:pt x="265" y="57"/>
                  </a:cubicBezTo>
                  <a:cubicBezTo>
                    <a:pt x="264" y="57"/>
                    <a:pt x="264" y="58"/>
                    <a:pt x="263" y="58"/>
                  </a:cubicBezTo>
                  <a:cubicBezTo>
                    <a:pt x="263" y="58"/>
                    <a:pt x="263" y="58"/>
                    <a:pt x="263" y="58"/>
                  </a:cubicBezTo>
                  <a:close/>
                  <a:moveTo>
                    <a:pt x="208" y="16"/>
                  </a:moveTo>
                  <a:cubicBezTo>
                    <a:pt x="210" y="17"/>
                    <a:pt x="213" y="18"/>
                    <a:pt x="215" y="19"/>
                  </a:cubicBezTo>
                  <a:cubicBezTo>
                    <a:pt x="215" y="19"/>
                    <a:pt x="215" y="19"/>
                    <a:pt x="215" y="19"/>
                  </a:cubicBezTo>
                  <a:cubicBezTo>
                    <a:pt x="215" y="18"/>
                    <a:pt x="216" y="17"/>
                    <a:pt x="216" y="17"/>
                  </a:cubicBezTo>
                  <a:cubicBezTo>
                    <a:pt x="214" y="16"/>
                    <a:pt x="211" y="14"/>
                    <a:pt x="209" y="13"/>
                  </a:cubicBezTo>
                  <a:cubicBezTo>
                    <a:pt x="209" y="14"/>
                    <a:pt x="209" y="15"/>
                    <a:pt x="208" y="15"/>
                  </a:cubicBezTo>
                  <a:cubicBezTo>
                    <a:pt x="208" y="15"/>
                    <a:pt x="208" y="16"/>
                    <a:pt x="208" y="16"/>
                  </a:cubicBezTo>
                  <a:close/>
                  <a:moveTo>
                    <a:pt x="22" y="221"/>
                  </a:moveTo>
                  <a:cubicBezTo>
                    <a:pt x="20" y="219"/>
                    <a:pt x="19" y="217"/>
                    <a:pt x="18" y="214"/>
                  </a:cubicBezTo>
                  <a:cubicBezTo>
                    <a:pt x="17" y="215"/>
                    <a:pt x="17" y="215"/>
                    <a:pt x="16" y="216"/>
                  </a:cubicBezTo>
                  <a:cubicBezTo>
                    <a:pt x="17" y="218"/>
                    <a:pt x="18" y="220"/>
                    <a:pt x="19" y="222"/>
                  </a:cubicBezTo>
                  <a:cubicBezTo>
                    <a:pt x="20" y="222"/>
                    <a:pt x="21" y="221"/>
                    <a:pt x="22" y="2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IN" sz="1798" kern="0">
                <a:solidFill>
                  <a:srgbClr val="FFFFFF"/>
                </a:solidFill>
              </a:endParaRPr>
            </a:p>
          </p:txBody>
        </p:sp>
      </p:grpSp>
      <p:sp>
        <p:nvSpPr>
          <p:cNvPr id="7" name="Freeform 31"/>
          <p:cNvSpPr>
            <a:spLocks noEditPoints="1"/>
          </p:cNvSpPr>
          <p:nvPr userDrawn="1"/>
        </p:nvSpPr>
        <p:spPr bwMode="auto">
          <a:xfrm>
            <a:off x="578171" y="3384279"/>
            <a:ext cx="1470206" cy="1477339"/>
          </a:xfrm>
          <a:custGeom>
            <a:avLst/>
            <a:gdLst>
              <a:gd name="T0" fmla="*/ 80 w 486"/>
              <a:gd name="T1" fmla="*/ 86 h 488"/>
              <a:gd name="T2" fmla="*/ 61 w 486"/>
              <a:gd name="T3" fmla="*/ 109 h 488"/>
              <a:gd name="T4" fmla="*/ 18 w 486"/>
              <a:gd name="T5" fmla="*/ 149 h 488"/>
              <a:gd name="T6" fmla="*/ 16 w 486"/>
              <a:gd name="T7" fmla="*/ 198 h 488"/>
              <a:gd name="T8" fmla="*/ 35 w 486"/>
              <a:gd name="T9" fmla="*/ 246 h 488"/>
              <a:gd name="T10" fmla="*/ 17 w 486"/>
              <a:gd name="T11" fmla="*/ 295 h 488"/>
              <a:gd name="T12" fmla="*/ 27 w 486"/>
              <a:gd name="T13" fmla="*/ 328 h 488"/>
              <a:gd name="T14" fmla="*/ 69 w 486"/>
              <a:gd name="T15" fmla="*/ 359 h 488"/>
              <a:gd name="T16" fmla="*/ 64 w 486"/>
              <a:gd name="T17" fmla="*/ 409 h 488"/>
              <a:gd name="T18" fmla="*/ 107 w 486"/>
              <a:gd name="T19" fmla="*/ 431 h 488"/>
              <a:gd name="T20" fmla="*/ 159 w 486"/>
              <a:gd name="T21" fmla="*/ 435 h 488"/>
              <a:gd name="T22" fmla="*/ 181 w 486"/>
              <a:gd name="T23" fmla="*/ 480 h 488"/>
              <a:gd name="T24" fmla="*/ 230 w 486"/>
              <a:gd name="T25" fmla="*/ 475 h 488"/>
              <a:gd name="T26" fmla="*/ 275 w 486"/>
              <a:gd name="T27" fmla="*/ 450 h 488"/>
              <a:gd name="T28" fmla="*/ 319 w 486"/>
              <a:gd name="T29" fmla="*/ 476 h 488"/>
              <a:gd name="T30" fmla="*/ 357 w 486"/>
              <a:gd name="T31" fmla="*/ 446 h 488"/>
              <a:gd name="T32" fmla="*/ 379 w 486"/>
              <a:gd name="T33" fmla="*/ 425 h 488"/>
              <a:gd name="T34" fmla="*/ 432 w 486"/>
              <a:gd name="T35" fmla="*/ 398 h 488"/>
              <a:gd name="T36" fmla="*/ 448 w 486"/>
              <a:gd name="T37" fmla="*/ 352 h 488"/>
              <a:gd name="T38" fmla="*/ 444 w 486"/>
              <a:gd name="T39" fmla="*/ 300 h 488"/>
              <a:gd name="T40" fmla="*/ 475 w 486"/>
              <a:gd name="T41" fmla="*/ 259 h 488"/>
              <a:gd name="T42" fmla="*/ 485 w 486"/>
              <a:gd name="T43" fmla="*/ 212 h 488"/>
              <a:gd name="T44" fmla="*/ 455 w 486"/>
              <a:gd name="T45" fmla="*/ 161 h 488"/>
              <a:gd name="T46" fmla="*/ 441 w 486"/>
              <a:gd name="T47" fmla="*/ 135 h 488"/>
              <a:gd name="T48" fmla="*/ 423 w 486"/>
              <a:gd name="T49" fmla="*/ 79 h 488"/>
              <a:gd name="T50" fmla="*/ 380 w 486"/>
              <a:gd name="T51" fmla="*/ 57 h 488"/>
              <a:gd name="T52" fmla="*/ 330 w 486"/>
              <a:gd name="T53" fmla="*/ 55 h 488"/>
              <a:gd name="T54" fmla="*/ 291 w 486"/>
              <a:gd name="T55" fmla="*/ 17 h 488"/>
              <a:gd name="T56" fmla="*/ 246 w 486"/>
              <a:gd name="T57" fmla="*/ 0 h 488"/>
              <a:gd name="T58" fmla="*/ 192 w 486"/>
              <a:gd name="T59" fmla="*/ 29 h 488"/>
              <a:gd name="T60" fmla="*/ 163 w 486"/>
              <a:gd name="T61" fmla="*/ 32 h 488"/>
              <a:gd name="T62" fmla="*/ 114 w 486"/>
              <a:gd name="T63" fmla="*/ 37 h 488"/>
              <a:gd name="T64" fmla="*/ 93 w 486"/>
              <a:gd name="T65" fmla="*/ 218 h 488"/>
              <a:gd name="T66" fmla="*/ 108 w 486"/>
              <a:gd name="T67" fmla="*/ 315 h 488"/>
              <a:gd name="T68" fmla="*/ 258 w 486"/>
              <a:gd name="T69" fmla="*/ 157 h 488"/>
              <a:gd name="T70" fmla="*/ 210 w 486"/>
              <a:gd name="T71" fmla="*/ 200 h 488"/>
              <a:gd name="T72" fmla="*/ 156 w 486"/>
              <a:gd name="T73" fmla="*/ 229 h 488"/>
              <a:gd name="T74" fmla="*/ 294 w 486"/>
              <a:gd name="T75" fmla="*/ 316 h 488"/>
              <a:gd name="T76" fmla="*/ 228 w 486"/>
              <a:gd name="T77" fmla="*/ 331 h 488"/>
              <a:gd name="T78" fmla="*/ 199 w 486"/>
              <a:gd name="T79" fmla="*/ 277 h 488"/>
              <a:gd name="T80" fmla="*/ 168 w 486"/>
              <a:gd name="T81" fmla="*/ 326 h 488"/>
              <a:gd name="T82" fmla="*/ 311 w 486"/>
              <a:gd name="T83" fmla="*/ 398 h 488"/>
              <a:gd name="T84" fmla="*/ 280 w 486"/>
              <a:gd name="T85" fmla="*/ 349 h 488"/>
              <a:gd name="T86" fmla="*/ 400 w 486"/>
              <a:gd name="T87" fmla="*/ 307 h 488"/>
              <a:gd name="T88" fmla="*/ 344 w 486"/>
              <a:gd name="T89" fmla="*/ 294 h 488"/>
              <a:gd name="T90" fmla="*/ 412 w 486"/>
              <a:gd name="T91" fmla="*/ 250 h 488"/>
              <a:gd name="T92" fmla="*/ 360 w 486"/>
              <a:gd name="T93" fmla="*/ 185 h 488"/>
              <a:gd name="T94" fmla="*/ 321 w 486"/>
              <a:gd name="T95" fmla="*/ 201 h 488"/>
              <a:gd name="T96" fmla="*/ 316 w 486"/>
              <a:gd name="T97" fmla="*/ 193 h 488"/>
              <a:gd name="T98" fmla="*/ 348 w 486"/>
              <a:gd name="T99" fmla="*/ 165 h 488"/>
              <a:gd name="T100" fmla="*/ 312 w 486"/>
              <a:gd name="T101" fmla="*/ 89 h 488"/>
              <a:gd name="T102" fmla="*/ 242 w 486"/>
              <a:gd name="T103" fmla="*/ 132 h 488"/>
              <a:gd name="T104" fmla="*/ 156 w 486"/>
              <a:gd name="T105" fmla="*/ 119 h 488"/>
              <a:gd name="T106" fmla="*/ 98 w 486"/>
              <a:gd name="T107" fmla="*/ 196 h 4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86" h="488">
                <a:moveTo>
                  <a:pt x="105" y="43"/>
                </a:moveTo>
                <a:cubicBezTo>
                  <a:pt x="100" y="46"/>
                  <a:pt x="99" y="54"/>
                  <a:pt x="103" y="59"/>
                </a:cubicBezTo>
                <a:cubicBezTo>
                  <a:pt x="107" y="63"/>
                  <a:pt x="107" y="63"/>
                  <a:pt x="107" y="63"/>
                </a:cubicBezTo>
                <a:cubicBezTo>
                  <a:pt x="112" y="70"/>
                  <a:pt x="113" y="79"/>
                  <a:pt x="107" y="86"/>
                </a:cubicBezTo>
                <a:cubicBezTo>
                  <a:pt x="100" y="95"/>
                  <a:pt x="87" y="94"/>
                  <a:pt x="80" y="86"/>
                </a:cubicBezTo>
                <a:cubicBezTo>
                  <a:pt x="77" y="82"/>
                  <a:pt x="77" y="82"/>
                  <a:pt x="77" y="82"/>
                </a:cubicBezTo>
                <a:cubicBezTo>
                  <a:pt x="73" y="77"/>
                  <a:pt x="65" y="77"/>
                  <a:pt x="61" y="82"/>
                </a:cubicBezTo>
                <a:cubicBezTo>
                  <a:pt x="58" y="85"/>
                  <a:pt x="56" y="87"/>
                  <a:pt x="54" y="90"/>
                </a:cubicBezTo>
                <a:cubicBezTo>
                  <a:pt x="50" y="95"/>
                  <a:pt x="51" y="102"/>
                  <a:pt x="57" y="106"/>
                </a:cubicBezTo>
                <a:cubicBezTo>
                  <a:pt x="61" y="109"/>
                  <a:pt x="61" y="109"/>
                  <a:pt x="61" y="109"/>
                </a:cubicBezTo>
                <a:cubicBezTo>
                  <a:pt x="68" y="114"/>
                  <a:pt x="72" y="123"/>
                  <a:pt x="68" y="131"/>
                </a:cubicBezTo>
                <a:cubicBezTo>
                  <a:pt x="64" y="141"/>
                  <a:pt x="51" y="144"/>
                  <a:pt x="42" y="138"/>
                </a:cubicBezTo>
                <a:cubicBezTo>
                  <a:pt x="38" y="136"/>
                  <a:pt x="38" y="136"/>
                  <a:pt x="38" y="136"/>
                </a:cubicBezTo>
                <a:cubicBezTo>
                  <a:pt x="33" y="132"/>
                  <a:pt x="25" y="134"/>
                  <a:pt x="22" y="140"/>
                </a:cubicBezTo>
                <a:cubicBezTo>
                  <a:pt x="21" y="143"/>
                  <a:pt x="20" y="146"/>
                  <a:pt x="18" y="149"/>
                </a:cubicBezTo>
                <a:cubicBezTo>
                  <a:pt x="16" y="155"/>
                  <a:pt x="19" y="162"/>
                  <a:pt x="25" y="164"/>
                </a:cubicBezTo>
                <a:cubicBezTo>
                  <a:pt x="31" y="166"/>
                  <a:pt x="31" y="166"/>
                  <a:pt x="31" y="166"/>
                </a:cubicBezTo>
                <a:cubicBezTo>
                  <a:pt x="40" y="169"/>
                  <a:pt x="45" y="178"/>
                  <a:pt x="43" y="188"/>
                </a:cubicBezTo>
                <a:cubicBezTo>
                  <a:pt x="48" y="195"/>
                  <a:pt x="40" y="205"/>
                  <a:pt x="31" y="202"/>
                </a:cubicBezTo>
                <a:cubicBezTo>
                  <a:pt x="16" y="198"/>
                  <a:pt x="16" y="198"/>
                  <a:pt x="16" y="198"/>
                </a:cubicBezTo>
                <a:cubicBezTo>
                  <a:pt x="10" y="196"/>
                  <a:pt x="3" y="200"/>
                  <a:pt x="2" y="207"/>
                </a:cubicBezTo>
                <a:cubicBezTo>
                  <a:pt x="2" y="210"/>
                  <a:pt x="1" y="213"/>
                  <a:pt x="1" y="216"/>
                </a:cubicBezTo>
                <a:cubicBezTo>
                  <a:pt x="0" y="223"/>
                  <a:pt x="5" y="229"/>
                  <a:pt x="12" y="229"/>
                </a:cubicBezTo>
                <a:cubicBezTo>
                  <a:pt x="18" y="229"/>
                  <a:pt x="18" y="229"/>
                  <a:pt x="18" y="229"/>
                </a:cubicBezTo>
                <a:cubicBezTo>
                  <a:pt x="27" y="229"/>
                  <a:pt x="35" y="237"/>
                  <a:pt x="35" y="246"/>
                </a:cubicBezTo>
                <a:cubicBezTo>
                  <a:pt x="35" y="256"/>
                  <a:pt x="27" y="264"/>
                  <a:pt x="17" y="264"/>
                </a:cubicBezTo>
                <a:cubicBezTo>
                  <a:pt x="12" y="264"/>
                  <a:pt x="12" y="264"/>
                  <a:pt x="12" y="264"/>
                </a:cubicBezTo>
                <a:cubicBezTo>
                  <a:pt x="6" y="264"/>
                  <a:pt x="0" y="269"/>
                  <a:pt x="1" y="276"/>
                </a:cubicBezTo>
                <a:cubicBezTo>
                  <a:pt x="2" y="279"/>
                  <a:pt x="2" y="283"/>
                  <a:pt x="3" y="286"/>
                </a:cubicBezTo>
                <a:cubicBezTo>
                  <a:pt x="4" y="292"/>
                  <a:pt x="10" y="296"/>
                  <a:pt x="17" y="295"/>
                </a:cubicBezTo>
                <a:cubicBezTo>
                  <a:pt x="22" y="293"/>
                  <a:pt x="22" y="293"/>
                  <a:pt x="22" y="293"/>
                </a:cubicBezTo>
                <a:cubicBezTo>
                  <a:pt x="32" y="290"/>
                  <a:pt x="41" y="296"/>
                  <a:pt x="44" y="305"/>
                </a:cubicBezTo>
                <a:cubicBezTo>
                  <a:pt x="44" y="305"/>
                  <a:pt x="44" y="305"/>
                  <a:pt x="44" y="305"/>
                </a:cubicBezTo>
                <a:cubicBezTo>
                  <a:pt x="47" y="314"/>
                  <a:pt x="41" y="324"/>
                  <a:pt x="32" y="327"/>
                </a:cubicBezTo>
                <a:cubicBezTo>
                  <a:pt x="27" y="328"/>
                  <a:pt x="27" y="328"/>
                  <a:pt x="27" y="328"/>
                </a:cubicBezTo>
                <a:cubicBezTo>
                  <a:pt x="21" y="330"/>
                  <a:pt x="17" y="337"/>
                  <a:pt x="20" y="343"/>
                </a:cubicBezTo>
                <a:cubicBezTo>
                  <a:pt x="22" y="346"/>
                  <a:pt x="23" y="349"/>
                  <a:pt x="24" y="352"/>
                </a:cubicBezTo>
                <a:cubicBezTo>
                  <a:pt x="27" y="358"/>
                  <a:pt x="35" y="360"/>
                  <a:pt x="40" y="356"/>
                </a:cubicBezTo>
                <a:cubicBezTo>
                  <a:pt x="45" y="353"/>
                  <a:pt x="45" y="353"/>
                  <a:pt x="45" y="353"/>
                </a:cubicBezTo>
                <a:cubicBezTo>
                  <a:pt x="53" y="348"/>
                  <a:pt x="64" y="351"/>
                  <a:pt x="69" y="359"/>
                </a:cubicBezTo>
                <a:cubicBezTo>
                  <a:pt x="69" y="359"/>
                  <a:pt x="69" y="359"/>
                  <a:pt x="69" y="359"/>
                </a:cubicBezTo>
                <a:cubicBezTo>
                  <a:pt x="74" y="367"/>
                  <a:pt x="72" y="378"/>
                  <a:pt x="64" y="383"/>
                </a:cubicBezTo>
                <a:cubicBezTo>
                  <a:pt x="60" y="385"/>
                  <a:pt x="60" y="385"/>
                  <a:pt x="60" y="385"/>
                </a:cubicBezTo>
                <a:cubicBezTo>
                  <a:pt x="54" y="389"/>
                  <a:pt x="53" y="397"/>
                  <a:pt x="57" y="402"/>
                </a:cubicBezTo>
                <a:cubicBezTo>
                  <a:pt x="59" y="404"/>
                  <a:pt x="61" y="407"/>
                  <a:pt x="64" y="409"/>
                </a:cubicBezTo>
                <a:cubicBezTo>
                  <a:pt x="68" y="414"/>
                  <a:pt x="76" y="414"/>
                  <a:pt x="80" y="409"/>
                </a:cubicBezTo>
                <a:cubicBezTo>
                  <a:pt x="84" y="405"/>
                  <a:pt x="84" y="405"/>
                  <a:pt x="84" y="405"/>
                </a:cubicBezTo>
                <a:cubicBezTo>
                  <a:pt x="89" y="398"/>
                  <a:pt x="99" y="397"/>
                  <a:pt x="106" y="401"/>
                </a:cubicBezTo>
                <a:cubicBezTo>
                  <a:pt x="116" y="407"/>
                  <a:pt x="117" y="420"/>
                  <a:pt x="110" y="428"/>
                </a:cubicBezTo>
                <a:cubicBezTo>
                  <a:pt x="107" y="431"/>
                  <a:pt x="107" y="431"/>
                  <a:pt x="107" y="431"/>
                </a:cubicBezTo>
                <a:cubicBezTo>
                  <a:pt x="102" y="436"/>
                  <a:pt x="103" y="444"/>
                  <a:pt x="109" y="448"/>
                </a:cubicBezTo>
                <a:cubicBezTo>
                  <a:pt x="112" y="450"/>
                  <a:pt x="115" y="451"/>
                  <a:pt x="117" y="453"/>
                </a:cubicBezTo>
                <a:cubicBezTo>
                  <a:pt x="123" y="456"/>
                  <a:pt x="130" y="454"/>
                  <a:pt x="133" y="448"/>
                </a:cubicBezTo>
                <a:cubicBezTo>
                  <a:pt x="136" y="443"/>
                  <a:pt x="136" y="443"/>
                  <a:pt x="136" y="443"/>
                </a:cubicBezTo>
                <a:cubicBezTo>
                  <a:pt x="140" y="434"/>
                  <a:pt x="150" y="430"/>
                  <a:pt x="159" y="435"/>
                </a:cubicBezTo>
                <a:cubicBezTo>
                  <a:pt x="159" y="435"/>
                  <a:pt x="159" y="435"/>
                  <a:pt x="159" y="435"/>
                </a:cubicBezTo>
                <a:cubicBezTo>
                  <a:pt x="168" y="439"/>
                  <a:pt x="171" y="449"/>
                  <a:pt x="167" y="458"/>
                </a:cubicBezTo>
                <a:cubicBezTo>
                  <a:pt x="165" y="462"/>
                  <a:pt x="165" y="462"/>
                  <a:pt x="165" y="462"/>
                </a:cubicBezTo>
                <a:cubicBezTo>
                  <a:pt x="162" y="468"/>
                  <a:pt x="166" y="475"/>
                  <a:pt x="172" y="477"/>
                </a:cubicBezTo>
                <a:cubicBezTo>
                  <a:pt x="175" y="478"/>
                  <a:pt x="178" y="479"/>
                  <a:pt x="181" y="480"/>
                </a:cubicBezTo>
                <a:cubicBezTo>
                  <a:pt x="188" y="482"/>
                  <a:pt x="194" y="478"/>
                  <a:pt x="195" y="471"/>
                </a:cubicBezTo>
                <a:cubicBezTo>
                  <a:pt x="196" y="465"/>
                  <a:pt x="196" y="465"/>
                  <a:pt x="196" y="465"/>
                </a:cubicBezTo>
                <a:cubicBezTo>
                  <a:pt x="197" y="456"/>
                  <a:pt x="206" y="449"/>
                  <a:pt x="216" y="451"/>
                </a:cubicBezTo>
                <a:cubicBezTo>
                  <a:pt x="225" y="452"/>
                  <a:pt x="232" y="461"/>
                  <a:pt x="231" y="471"/>
                </a:cubicBezTo>
                <a:cubicBezTo>
                  <a:pt x="230" y="475"/>
                  <a:pt x="230" y="475"/>
                  <a:pt x="230" y="475"/>
                </a:cubicBezTo>
                <a:cubicBezTo>
                  <a:pt x="229" y="482"/>
                  <a:pt x="234" y="488"/>
                  <a:pt x="241" y="488"/>
                </a:cubicBezTo>
                <a:cubicBezTo>
                  <a:pt x="244" y="488"/>
                  <a:pt x="247" y="488"/>
                  <a:pt x="250" y="488"/>
                </a:cubicBezTo>
                <a:cubicBezTo>
                  <a:pt x="257" y="488"/>
                  <a:pt x="262" y="482"/>
                  <a:pt x="261" y="475"/>
                </a:cubicBezTo>
                <a:cubicBezTo>
                  <a:pt x="260" y="470"/>
                  <a:pt x="260" y="470"/>
                  <a:pt x="260" y="470"/>
                </a:cubicBezTo>
                <a:cubicBezTo>
                  <a:pt x="259" y="460"/>
                  <a:pt x="266" y="451"/>
                  <a:pt x="275" y="450"/>
                </a:cubicBezTo>
                <a:cubicBezTo>
                  <a:pt x="275" y="450"/>
                  <a:pt x="275" y="450"/>
                  <a:pt x="275" y="450"/>
                </a:cubicBezTo>
                <a:cubicBezTo>
                  <a:pt x="285" y="449"/>
                  <a:pt x="294" y="455"/>
                  <a:pt x="295" y="465"/>
                </a:cubicBezTo>
                <a:cubicBezTo>
                  <a:pt x="295" y="470"/>
                  <a:pt x="295" y="470"/>
                  <a:pt x="295" y="470"/>
                </a:cubicBezTo>
                <a:cubicBezTo>
                  <a:pt x="296" y="476"/>
                  <a:pt x="303" y="481"/>
                  <a:pt x="309" y="479"/>
                </a:cubicBezTo>
                <a:cubicBezTo>
                  <a:pt x="313" y="478"/>
                  <a:pt x="316" y="477"/>
                  <a:pt x="319" y="476"/>
                </a:cubicBezTo>
                <a:cubicBezTo>
                  <a:pt x="325" y="474"/>
                  <a:pt x="328" y="467"/>
                  <a:pt x="325" y="461"/>
                </a:cubicBezTo>
                <a:cubicBezTo>
                  <a:pt x="323" y="456"/>
                  <a:pt x="323" y="456"/>
                  <a:pt x="323" y="456"/>
                </a:cubicBezTo>
                <a:cubicBezTo>
                  <a:pt x="319" y="447"/>
                  <a:pt x="323" y="436"/>
                  <a:pt x="332" y="433"/>
                </a:cubicBezTo>
                <a:cubicBezTo>
                  <a:pt x="341" y="429"/>
                  <a:pt x="351" y="433"/>
                  <a:pt x="355" y="441"/>
                </a:cubicBezTo>
                <a:cubicBezTo>
                  <a:pt x="357" y="446"/>
                  <a:pt x="357" y="446"/>
                  <a:pt x="357" y="446"/>
                </a:cubicBezTo>
                <a:cubicBezTo>
                  <a:pt x="360" y="452"/>
                  <a:pt x="367" y="454"/>
                  <a:pt x="373" y="451"/>
                </a:cubicBezTo>
                <a:cubicBezTo>
                  <a:pt x="373" y="451"/>
                  <a:pt x="373" y="451"/>
                  <a:pt x="373" y="451"/>
                </a:cubicBezTo>
                <a:cubicBezTo>
                  <a:pt x="376" y="449"/>
                  <a:pt x="378" y="447"/>
                  <a:pt x="381" y="445"/>
                </a:cubicBezTo>
                <a:cubicBezTo>
                  <a:pt x="386" y="442"/>
                  <a:pt x="387" y="434"/>
                  <a:pt x="383" y="429"/>
                </a:cubicBezTo>
                <a:cubicBezTo>
                  <a:pt x="379" y="425"/>
                  <a:pt x="379" y="425"/>
                  <a:pt x="379" y="425"/>
                </a:cubicBezTo>
                <a:cubicBezTo>
                  <a:pt x="373" y="417"/>
                  <a:pt x="374" y="406"/>
                  <a:pt x="381" y="400"/>
                </a:cubicBezTo>
                <a:cubicBezTo>
                  <a:pt x="389" y="394"/>
                  <a:pt x="400" y="395"/>
                  <a:pt x="406" y="402"/>
                </a:cubicBezTo>
                <a:cubicBezTo>
                  <a:pt x="409" y="406"/>
                  <a:pt x="409" y="406"/>
                  <a:pt x="409" y="406"/>
                </a:cubicBezTo>
                <a:cubicBezTo>
                  <a:pt x="414" y="411"/>
                  <a:pt x="421" y="411"/>
                  <a:pt x="426" y="406"/>
                </a:cubicBezTo>
                <a:cubicBezTo>
                  <a:pt x="428" y="403"/>
                  <a:pt x="430" y="401"/>
                  <a:pt x="432" y="398"/>
                </a:cubicBezTo>
                <a:cubicBezTo>
                  <a:pt x="436" y="393"/>
                  <a:pt x="435" y="386"/>
                  <a:pt x="430" y="382"/>
                </a:cubicBezTo>
                <a:cubicBezTo>
                  <a:pt x="425" y="379"/>
                  <a:pt x="425" y="379"/>
                  <a:pt x="425" y="379"/>
                </a:cubicBezTo>
                <a:cubicBezTo>
                  <a:pt x="417" y="374"/>
                  <a:pt x="414" y="363"/>
                  <a:pt x="420" y="355"/>
                </a:cubicBezTo>
                <a:cubicBezTo>
                  <a:pt x="425" y="347"/>
                  <a:pt x="436" y="344"/>
                  <a:pt x="444" y="350"/>
                </a:cubicBezTo>
                <a:cubicBezTo>
                  <a:pt x="448" y="352"/>
                  <a:pt x="448" y="352"/>
                  <a:pt x="448" y="352"/>
                </a:cubicBezTo>
                <a:cubicBezTo>
                  <a:pt x="454" y="356"/>
                  <a:pt x="461" y="354"/>
                  <a:pt x="464" y="348"/>
                </a:cubicBezTo>
                <a:cubicBezTo>
                  <a:pt x="465" y="345"/>
                  <a:pt x="467" y="342"/>
                  <a:pt x="468" y="339"/>
                </a:cubicBezTo>
                <a:cubicBezTo>
                  <a:pt x="471" y="333"/>
                  <a:pt x="467" y="326"/>
                  <a:pt x="461" y="324"/>
                </a:cubicBezTo>
                <a:cubicBezTo>
                  <a:pt x="455" y="322"/>
                  <a:pt x="455" y="322"/>
                  <a:pt x="455" y="322"/>
                </a:cubicBezTo>
                <a:cubicBezTo>
                  <a:pt x="446" y="320"/>
                  <a:pt x="441" y="310"/>
                  <a:pt x="444" y="300"/>
                </a:cubicBezTo>
                <a:cubicBezTo>
                  <a:pt x="439" y="293"/>
                  <a:pt x="446" y="283"/>
                  <a:pt x="455" y="286"/>
                </a:cubicBezTo>
                <a:cubicBezTo>
                  <a:pt x="470" y="290"/>
                  <a:pt x="470" y="290"/>
                  <a:pt x="470" y="290"/>
                </a:cubicBezTo>
                <a:cubicBezTo>
                  <a:pt x="477" y="292"/>
                  <a:pt x="483" y="288"/>
                  <a:pt x="484" y="281"/>
                </a:cubicBezTo>
                <a:cubicBezTo>
                  <a:pt x="485" y="278"/>
                  <a:pt x="485" y="275"/>
                  <a:pt x="486" y="272"/>
                </a:cubicBezTo>
                <a:cubicBezTo>
                  <a:pt x="486" y="265"/>
                  <a:pt x="481" y="260"/>
                  <a:pt x="475" y="259"/>
                </a:cubicBezTo>
                <a:cubicBezTo>
                  <a:pt x="469" y="259"/>
                  <a:pt x="469" y="259"/>
                  <a:pt x="469" y="259"/>
                </a:cubicBezTo>
                <a:cubicBezTo>
                  <a:pt x="461" y="259"/>
                  <a:pt x="453" y="253"/>
                  <a:pt x="452" y="245"/>
                </a:cubicBezTo>
                <a:cubicBezTo>
                  <a:pt x="450" y="234"/>
                  <a:pt x="459" y="224"/>
                  <a:pt x="469" y="224"/>
                </a:cubicBezTo>
                <a:cubicBezTo>
                  <a:pt x="474" y="224"/>
                  <a:pt x="474" y="224"/>
                  <a:pt x="474" y="224"/>
                </a:cubicBezTo>
                <a:cubicBezTo>
                  <a:pt x="481" y="224"/>
                  <a:pt x="486" y="219"/>
                  <a:pt x="485" y="212"/>
                </a:cubicBezTo>
                <a:cubicBezTo>
                  <a:pt x="485" y="209"/>
                  <a:pt x="484" y="206"/>
                  <a:pt x="484" y="202"/>
                </a:cubicBezTo>
                <a:cubicBezTo>
                  <a:pt x="482" y="196"/>
                  <a:pt x="476" y="192"/>
                  <a:pt x="470" y="194"/>
                </a:cubicBezTo>
                <a:cubicBezTo>
                  <a:pt x="464" y="195"/>
                  <a:pt x="464" y="195"/>
                  <a:pt x="464" y="195"/>
                </a:cubicBezTo>
                <a:cubicBezTo>
                  <a:pt x="456" y="197"/>
                  <a:pt x="447" y="194"/>
                  <a:pt x="444" y="186"/>
                </a:cubicBezTo>
                <a:cubicBezTo>
                  <a:pt x="439" y="176"/>
                  <a:pt x="444" y="164"/>
                  <a:pt x="455" y="161"/>
                </a:cubicBezTo>
                <a:cubicBezTo>
                  <a:pt x="459" y="160"/>
                  <a:pt x="459" y="160"/>
                  <a:pt x="459" y="160"/>
                </a:cubicBezTo>
                <a:cubicBezTo>
                  <a:pt x="466" y="158"/>
                  <a:pt x="469" y="151"/>
                  <a:pt x="466" y="145"/>
                </a:cubicBezTo>
                <a:cubicBezTo>
                  <a:pt x="465" y="142"/>
                  <a:pt x="464" y="139"/>
                  <a:pt x="462" y="136"/>
                </a:cubicBezTo>
                <a:cubicBezTo>
                  <a:pt x="459" y="130"/>
                  <a:pt x="452" y="128"/>
                  <a:pt x="446" y="132"/>
                </a:cubicBezTo>
                <a:cubicBezTo>
                  <a:pt x="441" y="135"/>
                  <a:pt x="441" y="135"/>
                  <a:pt x="441" y="135"/>
                </a:cubicBezTo>
                <a:cubicBezTo>
                  <a:pt x="433" y="140"/>
                  <a:pt x="422" y="138"/>
                  <a:pt x="417" y="129"/>
                </a:cubicBezTo>
                <a:cubicBezTo>
                  <a:pt x="412" y="121"/>
                  <a:pt x="415" y="110"/>
                  <a:pt x="423" y="105"/>
                </a:cubicBezTo>
                <a:cubicBezTo>
                  <a:pt x="427" y="103"/>
                  <a:pt x="427" y="103"/>
                  <a:pt x="427" y="103"/>
                </a:cubicBezTo>
                <a:cubicBezTo>
                  <a:pt x="432" y="99"/>
                  <a:pt x="434" y="91"/>
                  <a:pt x="429" y="86"/>
                </a:cubicBezTo>
                <a:cubicBezTo>
                  <a:pt x="427" y="84"/>
                  <a:pt x="425" y="81"/>
                  <a:pt x="423" y="79"/>
                </a:cubicBezTo>
                <a:cubicBezTo>
                  <a:pt x="418" y="74"/>
                  <a:pt x="411" y="74"/>
                  <a:pt x="407" y="79"/>
                </a:cubicBezTo>
                <a:cubicBezTo>
                  <a:pt x="403" y="83"/>
                  <a:pt x="403" y="83"/>
                  <a:pt x="403" y="83"/>
                </a:cubicBezTo>
                <a:cubicBezTo>
                  <a:pt x="397" y="90"/>
                  <a:pt x="388" y="91"/>
                  <a:pt x="380" y="87"/>
                </a:cubicBezTo>
                <a:cubicBezTo>
                  <a:pt x="371" y="81"/>
                  <a:pt x="369" y="68"/>
                  <a:pt x="376" y="60"/>
                </a:cubicBezTo>
                <a:cubicBezTo>
                  <a:pt x="380" y="57"/>
                  <a:pt x="380" y="57"/>
                  <a:pt x="380" y="57"/>
                </a:cubicBezTo>
                <a:cubicBezTo>
                  <a:pt x="384" y="52"/>
                  <a:pt x="383" y="44"/>
                  <a:pt x="377" y="40"/>
                </a:cubicBezTo>
                <a:cubicBezTo>
                  <a:pt x="375" y="38"/>
                  <a:pt x="372" y="37"/>
                  <a:pt x="369" y="35"/>
                </a:cubicBezTo>
                <a:cubicBezTo>
                  <a:pt x="363" y="32"/>
                  <a:pt x="356" y="34"/>
                  <a:pt x="353" y="40"/>
                </a:cubicBezTo>
                <a:cubicBezTo>
                  <a:pt x="351" y="45"/>
                  <a:pt x="351" y="45"/>
                  <a:pt x="351" y="45"/>
                </a:cubicBezTo>
                <a:cubicBezTo>
                  <a:pt x="347" y="53"/>
                  <a:pt x="339" y="57"/>
                  <a:pt x="330" y="55"/>
                </a:cubicBezTo>
                <a:cubicBezTo>
                  <a:pt x="320" y="52"/>
                  <a:pt x="315" y="40"/>
                  <a:pt x="319" y="30"/>
                </a:cubicBezTo>
                <a:cubicBezTo>
                  <a:pt x="321" y="26"/>
                  <a:pt x="321" y="26"/>
                  <a:pt x="321" y="26"/>
                </a:cubicBezTo>
                <a:cubicBezTo>
                  <a:pt x="324" y="20"/>
                  <a:pt x="321" y="13"/>
                  <a:pt x="314" y="11"/>
                </a:cubicBezTo>
                <a:cubicBezTo>
                  <a:pt x="311" y="10"/>
                  <a:pt x="308" y="9"/>
                  <a:pt x="305" y="8"/>
                </a:cubicBezTo>
                <a:cubicBezTo>
                  <a:pt x="299" y="6"/>
                  <a:pt x="292" y="11"/>
                  <a:pt x="291" y="17"/>
                </a:cubicBezTo>
                <a:cubicBezTo>
                  <a:pt x="291" y="22"/>
                  <a:pt x="291" y="22"/>
                  <a:pt x="291" y="22"/>
                </a:cubicBezTo>
                <a:cubicBezTo>
                  <a:pt x="289" y="31"/>
                  <a:pt x="282" y="38"/>
                  <a:pt x="274" y="38"/>
                </a:cubicBezTo>
                <a:cubicBezTo>
                  <a:pt x="262" y="38"/>
                  <a:pt x="254" y="28"/>
                  <a:pt x="256" y="18"/>
                </a:cubicBezTo>
                <a:cubicBezTo>
                  <a:pt x="257" y="13"/>
                  <a:pt x="257" y="13"/>
                  <a:pt x="257" y="13"/>
                </a:cubicBezTo>
                <a:cubicBezTo>
                  <a:pt x="258" y="6"/>
                  <a:pt x="253" y="0"/>
                  <a:pt x="246" y="0"/>
                </a:cubicBezTo>
                <a:cubicBezTo>
                  <a:pt x="243" y="0"/>
                  <a:pt x="239" y="0"/>
                  <a:pt x="236" y="0"/>
                </a:cubicBezTo>
                <a:cubicBezTo>
                  <a:pt x="230" y="0"/>
                  <a:pt x="225" y="6"/>
                  <a:pt x="225" y="13"/>
                </a:cubicBezTo>
                <a:cubicBezTo>
                  <a:pt x="226" y="19"/>
                  <a:pt x="226" y="19"/>
                  <a:pt x="226" y="19"/>
                </a:cubicBezTo>
                <a:cubicBezTo>
                  <a:pt x="228" y="28"/>
                  <a:pt x="221" y="37"/>
                  <a:pt x="211" y="38"/>
                </a:cubicBezTo>
                <a:cubicBezTo>
                  <a:pt x="204" y="43"/>
                  <a:pt x="194" y="38"/>
                  <a:pt x="192" y="29"/>
                </a:cubicBezTo>
                <a:cubicBezTo>
                  <a:pt x="191" y="18"/>
                  <a:pt x="191" y="18"/>
                  <a:pt x="191" y="18"/>
                </a:cubicBezTo>
                <a:cubicBezTo>
                  <a:pt x="190" y="12"/>
                  <a:pt x="183" y="7"/>
                  <a:pt x="177" y="9"/>
                </a:cubicBezTo>
                <a:cubicBezTo>
                  <a:pt x="174" y="10"/>
                  <a:pt x="171" y="11"/>
                  <a:pt x="168" y="12"/>
                </a:cubicBezTo>
                <a:cubicBezTo>
                  <a:pt x="161" y="14"/>
                  <a:pt x="158" y="21"/>
                  <a:pt x="161" y="27"/>
                </a:cubicBezTo>
                <a:cubicBezTo>
                  <a:pt x="163" y="32"/>
                  <a:pt x="163" y="32"/>
                  <a:pt x="163" y="32"/>
                </a:cubicBezTo>
                <a:cubicBezTo>
                  <a:pt x="168" y="42"/>
                  <a:pt x="162" y="54"/>
                  <a:pt x="152" y="57"/>
                </a:cubicBezTo>
                <a:cubicBezTo>
                  <a:pt x="143" y="59"/>
                  <a:pt x="135" y="54"/>
                  <a:pt x="131" y="46"/>
                </a:cubicBezTo>
                <a:cubicBezTo>
                  <a:pt x="129" y="42"/>
                  <a:pt x="129" y="42"/>
                  <a:pt x="129" y="42"/>
                </a:cubicBezTo>
                <a:cubicBezTo>
                  <a:pt x="127" y="36"/>
                  <a:pt x="119" y="34"/>
                  <a:pt x="114" y="37"/>
                </a:cubicBezTo>
                <a:cubicBezTo>
                  <a:pt x="114" y="37"/>
                  <a:pt x="114" y="37"/>
                  <a:pt x="114" y="37"/>
                </a:cubicBezTo>
                <a:cubicBezTo>
                  <a:pt x="111" y="39"/>
                  <a:pt x="108" y="41"/>
                  <a:pt x="105" y="43"/>
                </a:cubicBezTo>
                <a:close/>
                <a:moveTo>
                  <a:pt x="108" y="315"/>
                </a:moveTo>
                <a:cubicBezTo>
                  <a:pt x="100" y="320"/>
                  <a:pt x="90" y="317"/>
                  <a:pt x="87" y="308"/>
                </a:cubicBezTo>
                <a:cubicBezTo>
                  <a:pt x="75" y="232"/>
                  <a:pt x="75" y="232"/>
                  <a:pt x="75" y="232"/>
                </a:cubicBezTo>
                <a:cubicBezTo>
                  <a:pt x="75" y="222"/>
                  <a:pt x="83" y="216"/>
                  <a:pt x="93" y="218"/>
                </a:cubicBezTo>
                <a:cubicBezTo>
                  <a:pt x="114" y="223"/>
                  <a:pt x="114" y="223"/>
                  <a:pt x="114" y="223"/>
                </a:cubicBezTo>
                <a:cubicBezTo>
                  <a:pt x="124" y="225"/>
                  <a:pt x="132" y="235"/>
                  <a:pt x="132" y="245"/>
                </a:cubicBezTo>
                <a:cubicBezTo>
                  <a:pt x="137" y="277"/>
                  <a:pt x="137" y="277"/>
                  <a:pt x="137" y="277"/>
                </a:cubicBezTo>
                <a:cubicBezTo>
                  <a:pt x="140" y="286"/>
                  <a:pt x="135" y="298"/>
                  <a:pt x="127" y="303"/>
                </a:cubicBezTo>
                <a:lnTo>
                  <a:pt x="108" y="315"/>
                </a:lnTo>
                <a:close/>
                <a:moveTo>
                  <a:pt x="258" y="157"/>
                </a:moveTo>
                <a:cubicBezTo>
                  <a:pt x="251" y="189"/>
                  <a:pt x="251" y="189"/>
                  <a:pt x="251" y="189"/>
                </a:cubicBezTo>
                <a:cubicBezTo>
                  <a:pt x="240" y="188"/>
                  <a:pt x="228" y="189"/>
                  <a:pt x="218" y="195"/>
                </a:cubicBezTo>
                <a:cubicBezTo>
                  <a:pt x="200" y="166"/>
                  <a:pt x="200" y="166"/>
                  <a:pt x="200" y="166"/>
                </a:cubicBezTo>
                <a:cubicBezTo>
                  <a:pt x="219" y="156"/>
                  <a:pt x="239" y="153"/>
                  <a:pt x="258" y="157"/>
                </a:cubicBezTo>
                <a:close/>
                <a:moveTo>
                  <a:pt x="210" y="200"/>
                </a:moveTo>
                <a:cubicBezTo>
                  <a:pt x="201" y="207"/>
                  <a:pt x="194" y="217"/>
                  <a:pt x="191" y="227"/>
                </a:cubicBezTo>
                <a:cubicBezTo>
                  <a:pt x="158" y="220"/>
                  <a:pt x="158" y="220"/>
                  <a:pt x="158" y="220"/>
                </a:cubicBezTo>
                <a:cubicBezTo>
                  <a:pt x="164" y="201"/>
                  <a:pt x="175" y="184"/>
                  <a:pt x="192" y="172"/>
                </a:cubicBezTo>
                <a:lnTo>
                  <a:pt x="210" y="200"/>
                </a:lnTo>
                <a:close/>
                <a:moveTo>
                  <a:pt x="156" y="229"/>
                </a:moveTo>
                <a:cubicBezTo>
                  <a:pt x="189" y="237"/>
                  <a:pt x="189" y="237"/>
                  <a:pt x="189" y="237"/>
                </a:cubicBezTo>
                <a:cubicBezTo>
                  <a:pt x="187" y="247"/>
                  <a:pt x="189" y="259"/>
                  <a:pt x="194" y="269"/>
                </a:cubicBezTo>
                <a:cubicBezTo>
                  <a:pt x="166" y="287"/>
                  <a:pt x="166" y="287"/>
                  <a:pt x="166" y="287"/>
                </a:cubicBezTo>
                <a:cubicBezTo>
                  <a:pt x="156" y="269"/>
                  <a:pt x="153" y="248"/>
                  <a:pt x="156" y="229"/>
                </a:cubicBezTo>
                <a:close/>
                <a:moveTo>
                  <a:pt x="294" y="316"/>
                </a:moveTo>
                <a:cubicBezTo>
                  <a:pt x="277" y="288"/>
                  <a:pt x="277" y="288"/>
                  <a:pt x="277" y="288"/>
                </a:cubicBezTo>
                <a:cubicBezTo>
                  <a:pt x="286" y="281"/>
                  <a:pt x="293" y="272"/>
                  <a:pt x="296" y="261"/>
                </a:cubicBezTo>
                <a:cubicBezTo>
                  <a:pt x="328" y="269"/>
                  <a:pt x="328" y="269"/>
                  <a:pt x="328" y="269"/>
                </a:cubicBezTo>
                <a:cubicBezTo>
                  <a:pt x="323" y="287"/>
                  <a:pt x="311" y="304"/>
                  <a:pt x="294" y="316"/>
                </a:cubicBezTo>
                <a:close/>
                <a:moveTo>
                  <a:pt x="228" y="331"/>
                </a:moveTo>
                <a:cubicBezTo>
                  <a:pt x="236" y="299"/>
                  <a:pt x="236" y="299"/>
                  <a:pt x="236" y="299"/>
                </a:cubicBezTo>
                <a:cubicBezTo>
                  <a:pt x="247" y="300"/>
                  <a:pt x="258" y="299"/>
                  <a:pt x="268" y="293"/>
                </a:cubicBezTo>
                <a:cubicBezTo>
                  <a:pt x="286" y="322"/>
                  <a:pt x="286" y="322"/>
                  <a:pt x="286" y="322"/>
                </a:cubicBezTo>
                <a:cubicBezTo>
                  <a:pt x="268" y="332"/>
                  <a:pt x="248" y="335"/>
                  <a:pt x="228" y="331"/>
                </a:cubicBezTo>
                <a:close/>
                <a:moveTo>
                  <a:pt x="199" y="277"/>
                </a:moveTo>
                <a:cubicBezTo>
                  <a:pt x="206" y="287"/>
                  <a:pt x="216" y="293"/>
                  <a:pt x="226" y="296"/>
                </a:cubicBezTo>
                <a:cubicBezTo>
                  <a:pt x="219" y="329"/>
                  <a:pt x="219" y="329"/>
                  <a:pt x="219" y="329"/>
                </a:cubicBezTo>
                <a:cubicBezTo>
                  <a:pt x="200" y="324"/>
                  <a:pt x="183" y="312"/>
                  <a:pt x="171" y="295"/>
                </a:cubicBezTo>
                <a:lnTo>
                  <a:pt x="199" y="277"/>
                </a:lnTo>
                <a:close/>
                <a:moveTo>
                  <a:pt x="181" y="401"/>
                </a:moveTo>
                <a:cubicBezTo>
                  <a:pt x="118" y="357"/>
                  <a:pt x="118" y="357"/>
                  <a:pt x="118" y="357"/>
                </a:cubicBezTo>
                <a:cubicBezTo>
                  <a:pt x="111" y="350"/>
                  <a:pt x="112" y="340"/>
                  <a:pt x="120" y="335"/>
                </a:cubicBezTo>
                <a:cubicBezTo>
                  <a:pt x="139" y="323"/>
                  <a:pt x="139" y="323"/>
                  <a:pt x="139" y="323"/>
                </a:cubicBezTo>
                <a:cubicBezTo>
                  <a:pt x="148" y="318"/>
                  <a:pt x="160" y="319"/>
                  <a:pt x="168" y="326"/>
                </a:cubicBezTo>
                <a:cubicBezTo>
                  <a:pt x="194" y="344"/>
                  <a:pt x="194" y="344"/>
                  <a:pt x="194" y="344"/>
                </a:cubicBezTo>
                <a:cubicBezTo>
                  <a:pt x="203" y="348"/>
                  <a:pt x="208" y="360"/>
                  <a:pt x="206" y="369"/>
                </a:cubicBezTo>
                <a:cubicBezTo>
                  <a:pt x="201" y="391"/>
                  <a:pt x="201" y="391"/>
                  <a:pt x="201" y="391"/>
                </a:cubicBezTo>
                <a:cubicBezTo>
                  <a:pt x="199" y="400"/>
                  <a:pt x="190" y="405"/>
                  <a:pt x="181" y="401"/>
                </a:cubicBezTo>
                <a:close/>
                <a:moveTo>
                  <a:pt x="311" y="398"/>
                </a:moveTo>
                <a:cubicBezTo>
                  <a:pt x="238" y="413"/>
                  <a:pt x="238" y="413"/>
                  <a:pt x="238" y="413"/>
                </a:cubicBezTo>
                <a:cubicBezTo>
                  <a:pt x="228" y="413"/>
                  <a:pt x="221" y="405"/>
                  <a:pt x="224" y="396"/>
                </a:cubicBezTo>
                <a:cubicBezTo>
                  <a:pt x="229" y="374"/>
                  <a:pt x="229" y="374"/>
                  <a:pt x="229" y="374"/>
                </a:cubicBezTo>
                <a:cubicBezTo>
                  <a:pt x="231" y="364"/>
                  <a:pt x="241" y="356"/>
                  <a:pt x="251" y="355"/>
                </a:cubicBezTo>
                <a:cubicBezTo>
                  <a:pt x="280" y="349"/>
                  <a:pt x="280" y="349"/>
                  <a:pt x="280" y="349"/>
                </a:cubicBezTo>
                <a:cubicBezTo>
                  <a:pt x="289" y="346"/>
                  <a:pt x="301" y="350"/>
                  <a:pt x="307" y="358"/>
                </a:cubicBezTo>
                <a:cubicBezTo>
                  <a:pt x="318" y="377"/>
                  <a:pt x="318" y="377"/>
                  <a:pt x="318" y="377"/>
                </a:cubicBezTo>
                <a:cubicBezTo>
                  <a:pt x="324" y="385"/>
                  <a:pt x="320" y="395"/>
                  <a:pt x="311" y="398"/>
                </a:cubicBezTo>
                <a:close/>
                <a:moveTo>
                  <a:pt x="390" y="286"/>
                </a:moveTo>
                <a:cubicBezTo>
                  <a:pt x="400" y="289"/>
                  <a:pt x="404" y="298"/>
                  <a:pt x="400" y="307"/>
                </a:cubicBezTo>
                <a:cubicBezTo>
                  <a:pt x="359" y="366"/>
                  <a:pt x="359" y="366"/>
                  <a:pt x="359" y="366"/>
                </a:cubicBezTo>
                <a:cubicBezTo>
                  <a:pt x="353" y="374"/>
                  <a:pt x="343" y="373"/>
                  <a:pt x="338" y="364"/>
                </a:cubicBezTo>
                <a:cubicBezTo>
                  <a:pt x="326" y="345"/>
                  <a:pt x="326" y="345"/>
                  <a:pt x="326" y="345"/>
                </a:cubicBezTo>
                <a:cubicBezTo>
                  <a:pt x="321" y="337"/>
                  <a:pt x="322" y="324"/>
                  <a:pt x="328" y="317"/>
                </a:cubicBezTo>
                <a:cubicBezTo>
                  <a:pt x="344" y="294"/>
                  <a:pt x="344" y="294"/>
                  <a:pt x="344" y="294"/>
                </a:cubicBezTo>
                <a:cubicBezTo>
                  <a:pt x="348" y="285"/>
                  <a:pt x="359" y="279"/>
                  <a:pt x="369" y="281"/>
                </a:cubicBezTo>
                <a:lnTo>
                  <a:pt x="390" y="286"/>
                </a:lnTo>
                <a:close/>
                <a:moveTo>
                  <a:pt x="379" y="173"/>
                </a:moveTo>
                <a:cubicBezTo>
                  <a:pt x="387" y="168"/>
                  <a:pt x="396" y="171"/>
                  <a:pt x="400" y="180"/>
                </a:cubicBezTo>
                <a:cubicBezTo>
                  <a:pt x="412" y="250"/>
                  <a:pt x="412" y="250"/>
                  <a:pt x="412" y="250"/>
                </a:cubicBezTo>
                <a:cubicBezTo>
                  <a:pt x="412" y="260"/>
                  <a:pt x="405" y="266"/>
                  <a:pt x="395" y="264"/>
                </a:cubicBezTo>
                <a:cubicBezTo>
                  <a:pt x="373" y="259"/>
                  <a:pt x="373" y="259"/>
                  <a:pt x="373" y="259"/>
                </a:cubicBezTo>
                <a:cubicBezTo>
                  <a:pt x="364" y="256"/>
                  <a:pt x="355" y="247"/>
                  <a:pt x="355" y="237"/>
                </a:cubicBezTo>
                <a:cubicBezTo>
                  <a:pt x="350" y="211"/>
                  <a:pt x="350" y="211"/>
                  <a:pt x="350" y="211"/>
                </a:cubicBezTo>
                <a:cubicBezTo>
                  <a:pt x="347" y="202"/>
                  <a:pt x="352" y="190"/>
                  <a:pt x="360" y="185"/>
                </a:cubicBezTo>
                <a:lnTo>
                  <a:pt x="379" y="173"/>
                </a:lnTo>
                <a:close/>
                <a:moveTo>
                  <a:pt x="331" y="259"/>
                </a:moveTo>
                <a:cubicBezTo>
                  <a:pt x="298" y="252"/>
                  <a:pt x="298" y="252"/>
                  <a:pt x="298" y="252"/>
                </a:cubicBezTo>
                <a:cubicBezTo>
                  <a:pt x="300" y="241"/>
                  <a:pt x="298" y="229"/>
                  <a:pt x="293" y="219"/>
                </a:cubicBezTo>
                <a:cubicBezTo>
                  <a:pt x="321" y="201"/>
                  <a:pt x="321" y="201"/>
                  <a:pt x="321" y="201"/>
                </a:cubicBezTo>
                <a:cubicBezTo>
                  <a:pt x="331" y="219"/>
                  <a:pt x="334" y="240"/>
                  <a:pt x="331" y="259"/>
                </a:cubicBezTo>
                <a:close/>
                <a:moveTo>
                  <a:pt x="287" y="210"/>
                </a:moveTo>
                <a:cubicBezTo>
                  <a:pt x="280" y="201"/>
                  <a:pt x="271" y="195"/>
                  <a:pt x="260" y="191"/>
                </a:cubicBezTo>
                <a:cubicBezTo>
                  <a:pt x="268" y="159"/>
                  <a:pt x="268" y="159"/>
                  <a:pt x="268" y="159"/>
                </a:cubicBezTo>
                <a:cubicBezTo>
                  <a:pt x="287" y="164"/>
                  <a:pt x="304" y="176"/>
                  <a:pt x="316" y="193"/>
                </a:cubicBezTo>
                <a:lnTo>
                  <a:pt x="287" y="210"/>
                </a:lnTo>
                <a:close/>
                <a:moveTo>
                  <a:pt x="312" y="89"/>
                </a:moveTo>
                <a:cubicBezTo>
                  <a:pt x="369" y="131"/>
                  <a:pt x="369" y="131"/>
                  <a:pt x="369" y="131"/>
                </a:cubicBezTo>
                <a:cubicBezTo>
                  <a:pt x="376" y="138"/>
                  <a:pt x="375" y="148"/>
                  <a:pt x="366" y="153"/>
                </a:cubicBezTo>
                <a:cubicBezTo>
                  <a:pt x="348" y="165"/>
                  <a:pt x="348" y="165"/>
                  <a:pt x="348" y="165"/>
                </a:cubicBezTo>
                <a:cubicBezTo>
                  <a:pt x="339" y="170"/>
                  <a:pt x="326" y="169"/>
                  <a:pt x="319" y="162"/>
                </a:cubicBezTo>
                <a:cubicBezTo>
                  <a:pt x="299" y="147"/>
                  <a:pt x="299" y="147"/>
                  <a:pt x="299" y="147"/>
                </a:cubicBezTo>
                <a:cubicBezTo>
                  <a:pt x="290" y="142"/>
                  <a:pt x="284" y="130"/>
                  <a:pt x="287" y="121"/>
                </a:cubicBezTo>
                <a:cubicBezTo>
                  <a:pt x="292" y="99"/>
                  <a:pt x="292" y="99"/>
                  <a:pt x="292" y="99"/>
                </a:cubicBezTo>
                <a:cubicBezTo>
                  <a:pt x="294" y="89"/>
                  <a:pt x="303" y="85"/>
                  <a:pt x="312" y="89"/>
                </a:cubicBezTo>
                <a:close/>
                <a:moveTo>
                  <a:pt x="184" y="86"/>
                </a:moveTo>
                <a:cubicBezTo>
                  <a:pt x="255" y="75"/>
                  <a:pt x="255" y="75"/>
                  <a:pt x="255" y="75"/>
                </a:cubicBezTo>
                <a:cubicBezTo>
                  <a:pt x="265" y="76"/>
                  <a:pt x="271" y="84"/>
                  <a:pt x="269" y="93"/>
                </a:cubicBezTo>
                <a:cubicBezTo>
                  <a:pt x="264" y="115"/>
                  <a:pt x="264" y="115"/>
                  <a:pt x="264" y="115"/>
                </a:cubicBezTo>
                <a:cubicBezTo>
                  <a:pt x="262" y="124"/>
                  <a:pt x="252" y="132"/>
                  <a:pt x="242" y="132"/>
                </a:cubicBezTo>
                <a:cubicBezTo>
                  <a:pt x="215" y="136"/>
                  <a:pt x="215" y="136"/>
                  <a:pt x="215" y="136"/>
                </a:cubicBezTo>
                <a:cubicBezTo>
                  <a:pt x="205" y="139"/>
                  <a:pt x="193" y="134"/>
                  <a:pt x="188" y="126"/>
                </a:cubicBezTo>
                <a:cubicBezTo>
                  <a:pt x="176" y="107"/>
                  <a:pt x="176" y="107"/>
                  <a:pt x="176" y="107"/>
                </a:cubicBezTo>
                <a:cubicBezTo>
                  <a:pt x="171" y="98"/>
                  <a:pt x="174" y="89"/>
                  <a:pt x="184" y="86"/>
                </a:cubicBezTo>
                <a:close/>
                <a:moveTo>
                  <a:pt x="156" y="119"/>
                </a:moveTo>
                <a:cubicBezTo>
                  <a:pt x="168" y="137"/>
                  <a:pt x="168" y="137"/>
                  <a:pt x="168" y="137"/>
                </a:cubicBezTo>
                <a:cubicBezTo>
                  <a:pt x="173" y="146"/>
                  <a:pt x="172" y="158"/>
                  <a:pt x="165" y="165"/>
                </a:cubicBezTo>
                <a:cubicBezTo>
                  <a:pt x="146" y="189"/>
                  <a:pt x="146" y="189"/>
                  <a:pt x="146" y="189"/>
                </a:cubicBezTo>
                <a:cubicBezTo>
                  <a:pt x="141" y="198"/>
                  <a:pt x="130" y="203"/>
                  <a:pt x="120" y="201"/>
                </a:cubicBezTo>
                <a:cubicBezTo>
                  <a:pt x="98" y="196"/>
                  <a:pt x="98" y="196"/>
                  <a:pt x="98" y="196"/>
                </a:cubicBezTo>
                <a:cubicBezTo>
                  <a:pt x="89" y="194"/>
                  <a:pt x="84" y="184"/>
                  <a:pt x="89" y="176"/>
                </a:cubicBezTo>
                <a:cubicBezTo>
                  <a:pt x="134" y="116"/>
                  <a:pt x="134" y="116"/>
                  <a:pt x="134" y="116"/>
                </a:cubicBezTo>
                <a:cubicBezTo>
                  <a:pt x="141" y="109"/>
                  <a:pt x="151" y="110"/>
                  <a:pt x="156" y="119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1798" kern="0">
              <a:solidFill>
                <a:srgbClr val="FFFFFF"/>
              </a:solidFill>
            </a:endParaRPr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998136" y="840269"/>
            <a:ext cx="2789983" cy="2806812"/>
          </a:xfrm>
          <a:custGeom>
            <a:avLst/>
            <a:gdLst>
              <a:gd name="T0" fmla="*/ 65 w 535"/>
              <a:gd name="T1" fmla="*/ 131 h 538"/>
              <a:gd name="T2" fmla="*/ 43 w 535"/>
              <a:gd name="T3" fmla="*/ 170 h 538"/>
              <a:gd name="T4" fmla="*/ 29 w 535"/>
              <a:gd name="T5" fmla="*/ 213 h 538"/>
              <a:gd name="T6" fmla="*/ 23 w 535"/>
              <a:gd name="T7" fmla="*/ 258 h 538"/>
              <a:gd name="T8" fmla="*/ 25 w 535"/>
              <a:gd name="T9" fmla="*/ 303 h 538"/>
              <a:gd name="T10" fmla="*/ 35 w 535"/>
              <a:gd name="T11" fmla="*/ 347 h 538"/>
              <a:gd name="T12" fmla="*/ 54 w 535"/>
              <a:gd name="T13" fmla="*/ 389 h 538"/>
              <a:gd name="T14" fmla="*/ 79 w 535"/>
              <a:gd name="T15" fmla="*/ 426 h 538"/>
              <a:gd name="T16" fmla="*/ 111 w 535"/>
              <a:gd name="T17" fmla="*/ 458 h 538"/>
              <a:gd name="T18" fmla="*/ 149 w 535"/>
              <a:gd name="T19" fmla="*/ 483 h 538"/>
              <a:gd name="T20" fmla="*/ 190 w 535"/>
              <a:gd name="T21" fmla="*/ 502 h 538"/>
              <a:gd name="T22" fmla="*/ 234 w 535"/>
              <a:gd name="T23" fmla="*/ 512 h 538"/>
              <a:gd name="T24" fmla="*/ 279 w 535"/>
              <a:gd name="T25" fmla="*/ 514 h 538"/>
              <a:gd name="T26" fmla="*/ 324 w 535"/>
              <a:gd name="T27" fmla="*/ 508 h 538"/>
              <a:gd name="T28" fmla="*/ 367 w 535"/>
              <a:gd name="T29" fmla="*/ 493 h 538"/>
              <a:gd name="T30" fmla="*/ 407 w 535"/>
              <a:gd name="T31" fmla="*/ 471 h 538"/>
              <a:gd name="T32" fmla="*/ 441 w 535"/>
              <a:gd name="T33" fmla="*/ 442 h 538"/>
              <a:gd name="T34" fmla="*/ 470 w 535"/>
              <a:gd name="T35" fmla="*/ 407 h 538"/>
              <a:gd name="T36" fmla="*/ 492 w 535"/>
              <a:gd name="T37" fmla="*/ 368 h 538"/>
              <a:gd name="T38" fmla="*/ 506 w 535"/>
              <a:gd name="T39" fmla="*/ 325 h 538"/>
              <a:gd name="T40" fmla="*/ 513 w 535"/>
              <a:gd name="T41" fmla="*/ 280 h 538"/>
              <a:gd name="T42" fmla="*/ 511 w 535"/>
              <a:gd name="T43" fmla="*/ 235 h 538"/>
              <a:gd name="T44" fmla="*/ 500 w 535"/>
              <a:gd name="T45" fmla="*/ 191 h 538"/>
              <a:gd name="T46" fmla="*/ 482 w 535"/>
              <a:gd name="T47" fmla="*/ 149 h 538"/>
              <a:gd name="T48" fmla="*/ 456 w 535"/>
              <a:gd name="T49" fmla="*/ 112 h 538"/>
              <a:gd name="T50" fmla="*/ 424 w 535"/>
              <a:gd name="T51" fmla="*/ 80 h 538"/>
              <a:gd name="T52" fmla="*/ 387 w 535"/>
              <a:gd name="T53" fmla="*/ 55 h 538"/>
              <a:gd name="T54" fmla="*/ 345 w 535"/>
              <a:gd name="T55" fmla="*/ 36 h 538"/>
              <a:gd name="T56" fmla="*/ 301 w 535"/>
              <a:gd name="T57" fmla="*/ 26 h 538"/>
              <a:gd name="T58" fmla="*/ 256 w 535"/>
              <a:gd name="T59" fmla="*/ 24 h 538"/>
              <a:gd name="T60" fmla="*/ 211 w 535"/>
              <a:gd name="T61" fmla="*/ 31 h 538"/>
              <a:gd name="T62" fmla="*/ 168 w 535"/>
              <a:gd name="T63" fmla="*/ 45 h 538"/>
              <a:gd name="T64" fmla="*/ 129 w 535"/>
              <a:gd name="T65" fmla="*/ 67 h 538"/>
              <a:gd name="T66" fmla="*/ 94 w 535"/>
              <a:gd name="T67" fmla="*/ 96 h 538"/>
              <a:gd name="T68" fmla="*/ 53 w 535"/>
              <a:gd name="T69" fmla="*/ 259 h 538"/>
              <a:gd name="T70" fmla="*/ 81 w 535"/>
              <a:gd name="T71" fmla="*/ 290 h 538"/>
              <a:gd name="T72" fmla="*/ 153 w 535"/>
              <a:gd name="T73" fmla="*/ 374 h 538"/>
              <a:gd name="T74" fmla="*/ 258 w 535"/>
              <a:gd name="T75" fmla="*/ 484 h 538"/>
              <a:gd name="T76" fmla="*/ 289 w 535"/>
              <a:gd name="T77" fmla="*/ 456 h 538"/>
              <a:gd name="T78" fmla="*/ 413 w 535"/>
              <a:gd name="T79" fmla="*/ 428 h 538"/>
              <a:gd name="T80" fmla="*/ 415 w 535"/>
              <a:gd name="T81" fmla="*/ 386 h 538"/>
              <a:gd name="T82" fmla="*/ 452 w 535"/>
              <a:gd name="T83" fmla="*/ 307 h 538"/>
              <a:gd name="T84" fmla="*/ 427 w 535"/>
              <a:gd name="T85" fmla="*/ 124 h 538"/>
              <a:gd name="T86" fmla="*/ 384 w 535"/>
              <a:gd name="T87" fmla="*/ 122 h 538"/>
              <a:gd name="T88" fmla="*/ 360 w 535"/>
              <a:gd name="T89" fmla="*/ 370 h 538"/>
              <a:gd name="T90" fmla="*/ 369 w 535"/>
              <a:gd name="T91" fmla="*/ 177 h 538"/>
              <a:gd name="T92" fmla="*/ 275 w 535"/>
              <a:gd name="T93" fmla="*/ 114 h 538"/>
              <a:gd name="T94" fmla="*/ 165 w 535"/>
              <a:gd name="T95" fmla="*/ 112 h 538"/>
              <a:gd name="T96" fmla="*/ 123 w 535"/>
              <a:gd name="T97" fmla="*/ 110 h 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35" h="538">
                <a:moveTo>
                  <a:pt x="79" y="112"/>
                </a:moveTo>
                <a:cubicBezTo>
                  <a:pt x="53" y="107"/>
                  <a:pt x="53" y="107"/>
                  <a:pt x="53" y="107"/>
                </a:cubicBezTo>
                <a:cubicBezTo>
                  <a:pt x="65" y="131"/>
                  <a:pt x="65" y="131"/>
                  <a:pt x="65" y="131"/>
                </a:cubicBezTo>
                <a:cubicBezTo>
                  <a:pt x="70" y="140"/>
                  <a:pt x="63" y="150"/>
                  <a:pt x="54" y="150"/>
                </a:cubicBezTo>
                <a:cubicBezTo>
                  <a:pt x="27" y="149"/>
                  <a:pt x="27" y="149"/>
                  <a:pt x="27" y="149"/>
                </a:cubicBezTo>
                <a:cubicBezTo>
                  <a:pt x="43" y="170"/>
                  <a:pt x="43" y="170"/>
                  <a:pt x="43" y="170"/>
                </a:cubicBezTo>
                <a:cubicBezTo>
                  <a:pt x="49" y="178"/>
                  <a:pt x="45" y="189"/>
                  <a:pt x="35" y="191"/>
                </a:cubicBezTo>
                <a:cubicBezTo>
                  <a:pt x="9" y="196"/>
                  <a:pt x="9" y="196"/>
                  <a:pt x="9" y="196"/>
                </a:cubicBezTo>
                <a:cubicBezTo>
                  <a:pt x="29" y="213"/>
                  <a:pt x="29" y="213"/>
                  <a:pt x="29" y="213"/>
                </a:cubicBezTo>
                <a:cubicBezTo>
                  <a:pt x="36" y="220"/>
                  <a:pt x="34" y="232"/>
                  <a:pt x="25" y="235"/>
                </a:cubicBezTo>
                <a:cubicBezTo>
                  <a:pt x="0" y="244"/>
                  <a:pt x="0" y="244"/>
                  <a:pt x="0" y="244"/>
                </a:cubicBezTo>
                <a:cubicBezTo>
                  <a:pt x="23" y="258"/>
                  <a:pt x="23" y="258"/>
                  <a:pt x="23" y="258"/>
                </a:cubicBezTo>
                <a:cubicBezTo>
                  <a:pt x="31" y="263"/>
                  <a:pt x="31" y="275"/>
                  <a:pt x="23" y="280"/>
                </a:cubicBezTo>
                <a:cubicBezTo>
                  <a:pt x="0" y="294"/>
                  <a:pt x="0" y="294"/>
                  <a:pt x="0" y="294"/>
                </a:cubicBezTo>
                <a:cubicBezTo>
                  <a:pt x="25" y="303"/>
                  <a:pt x="25" y="303"/>
                  <a:pt x="25" y="303"/>
                </a:cubicBezTo>
                <a:cubicBezTo>
                  <a:pt x="34" y="307"/>
                  <a:pt x="36" y="319"/>
                  <a:pt x="29" y="325"/>
                </a:cubicBezTo>
                <a:cubicBezTo>
                  <a:pt x="9" y="343"/>
                  <a:pt x="9" y="343"/>
                  <a:pt x="9" y="343"/>
                </a:cubicBezTo>
                <a:cubicBezTo>
                  <a:pt x="35" y="347"/>
                  <a:pt x="35" y="347"/>
                  <a:pt x="35" y="347"/>
                </a:cubicBezTo>
                <a:cubicBezTo>
                  <a:pt x="45" y="349"/>
                  <a:pt x="49" y="360"/>
                  <a:pt x="43" y="368"/>
                </a:cubicBezTo>
                <a:cubicBezTo>
                  <a:pt x="27" y="389"/>
                  <a:pt x="27" y="389"/>
                  <a:pt x="27" y="389"/>
                </a:cubicBezTo>
                <a:cubicBezTo>
                  <a:pt x="54" y="389"/>
                  <a:pt x="54" y="389"/>
                  <a:pt x="54" y="389"/>
                </a:cubicBezTo>
                <a:cubicBezTo>
                  <a:pt x="64" y="389"/>
                  <a:pt x="70" y="399"/>
                  <a:pt x="65" y="408"/>
                </a:cubicBezTo>
                <a:cubicBezTo>
                  <a:pt x="53" y="431"/>
                  <a:pt x="53" y="431"/>
                  <a:pt x="53" y="431"/>
                </a:cubicBezTo>
                <a:cubicBezTo>
                  <a:pt x="79" y="426"/>
                  <a:pt x="79" y="426"/>
                  <a:pt x="79" y="426"/>
                </a:cubicBezTo>
                <a:cubicBezTo>
                  <a:pt x="89" y="424"/>
                  <a:pt x="97" y="433"/>
                  <a:pt x="94" y="442"/>
                </a:cubicBezTo>
                <a:cubicBezTo>
                  <a:pt x="87" y="468"/>
                  <a:pt x="87" y="468"/>
                  <a:pt x="87" y="468"/>
                </a:cubicBezTo>
                <a:cubicBezTo>
                  <a:pt x="111" y="458"/>
                  <a:pt x="111" y="458"/>
                  <a:pt x="111" y="458"/>
                </a:cubicBezTo>
                <a:cubicBezTo>
                  <a:pt x="121" y="454"/>
                  <a:pt x="130" y="462"/>
                  <a:pt x="129" y="471"/>
                </a:cubicBezTo>
                <a:cubicBezTo>
                  <a:pt x="126" y="498"/>
                  <a:pt x="126" y="498"/>
                  <a:pt x="126" y="498"/>
                </a:cubicBezTo>
                <a:cubicBezTo>
                  <a:pt x="149" y="483"/>
                  <a:pt x="149" y="483"/>
                  <a:pt x="149" y="483"/>
                </a:cubicBezTo>
                <a:cubicBezTo>
                  <a:pt x="157" y="478"/>
                  <a:pt x="168" y="484"/>
                  <a:pt x="169" y="493"/>
                </a:cubicBezTo>
                <a:cubicBezTo>
                  <a:pt x="171" y="520"/>
                  <a:pt x="171" y="520"/>
                  <a:pt x="171" y="520"/>
                </a:cubicBezTo>
                <a:cubicBezTo>
                  <a:pt x="190" y="502"/>
                  <a:pt x="190" y="502"/>
                  <a:pt x="190" y="502"/>
                </a:cubicBezTo>
                <a:cubicBezTo>
                  <a:pt x="197" y="495"/>
                  <a:pt x="209" y="498"/>
                  <a:pt x="212" y="508"/>
                </a:cubicBezTo>
                <a:cubicBezTo>
                  <a:pt x="219" y="533"/>
                  <a:pt x="219" y="533"/>
                  <a:pt x="219" y="533"/>
                </a:cubicBezTo>
                <a:cubicBezTo>
                  <a:pt x="234" y="512"/>
                  <a:pt x="234" y="512"/>
                  <a:pt x="234" y="512"/>
                </a:cubicBezTo>
                <a:cubicBezTo>
                  <a:pt x="240" y="504"/>
                  <a:pt x="252" y="505"/>
                  <a:pt x="256" y="514"/>
                </a:cubicBezTo>
                <a:cubicBezTo>
                  <a:pt x="268" y="538"/>
                  <a:pt x="268" y="538"/>
                  <a:pt x="268" y="538"/>
                </a:cubicBezTo>
                <a:cubicBezTo>
                  <a:pt x="279" y="514"/>
                  <a:pt x="279" y="514"/>
                  <a:pt x="279" y="514"/>
                </a:cubicBezTo>
                <a:cubicBezTo>
                  <a:pt x="284" y="505"/>
                  <a:pt x="296" y="504"/>
                  <a:pt x="302" y="512"/>
                </a:cubicBezTo>
                <a:cubicBezTo>
                  <a:pt x="317" y="533"/>
                  <a:pt x="317" y="533"/>
                  <a:pt x="317" y="533"/>
                </a:cubicBezTo>
                <a:cubicBezTo>
                  <a:pt x="324" y="508"/>
                  <a:pt x="324" y="508"/>
                  <a:pt x="324" y="508"/>
                </a:cubicBezTo>
                <a:cubicBezTo>
                  <a:pt x="327" y="498"/>
                  <a:pt x="339" y="495"/>
                  <a:pt x="346" y="502"/>
                </a:cubicBezTo>
                <a:cubicBezTo>
                  <a:pt x="365" y="520"/>
                  <a:pt x="365" y="520"/>
                  <a:pt x="365" y="520"/>
                </a:cubicBezTo>
                <a:cubicBezTo>
                  <a:pt x="367" y="493"/>
                  <a:pt x="367" y="493"/>
                  <a:pt x="367" y="493"/>
                </a:cubicBezTo>
                <a:cubicBezTo>
                  <a:pt x="368" y="483"/>
                  <a:pt x="379" y="478"/>
                  <a:pt x="387" y="483"/>
                </a:cubicBezTo>
                <a:cubicBezTo>
                  <a:pt x="409" y="498"/>
                  <a:pt x="409" y="498"/>
                  <a:pt x="409" y="498"/>
                </a:cubicBezTo>
                <a:cubicBezTo>
                  <a:pt x="407" y="471"/>
                  <a:pt x="407" y="471"/>
                  <a:pt x="407" y="471"/>
                </a:cubicBezTo>
                <a:cubicBezTo>
                  <a:pt x="406" y="461"/>
                  <a:pt x="415" y="454"/>
                  <a:pt x="424" y="458"/>
                </a:cubicBezTo>
                <a:cubicBezTo>
                  <a:pt x="449" y="468"/>
                  <a:pt x="449" y="468"/>
                  <a:pt x="449" y="468"/>
                </a:cubicBezTo>
                <a:cubicBezTo>
                  <a:pt x="441" y="442"/>
                  <a:pt x="441" y="442"/>
                  <a:pt x="441" y="442"/>
                </a:cubicBezTo>
                <a:cubicBezTo>
                  <a:pt x="439" y="433"/>
                  <a:pt x="447" y="424"/>
                  <a:pt x="456" y="426"/>
                </a:cubicBezTo>
                <a:cubicBezTo>
                  <a:pt x="482" y="431"/>
                  <a:pt x="482" y="431"/>
                  <a:pt x="482" y="431"/>
                </a:cubicBezTo>
                <a:cubicBezTo>
                  <a:pt x="470" y="407"/>
                  <a:pt x="470" y="407"/>
                  <a:pt x="470" y="407"/>
                </a:cubicBezTo>
                <a:cubicBezTo>
                  <a:pt x="466" y="399"/>
                  <a:pt x="472" y="388"/>
                  <a:pt x="482" y="388"/>
                </a:cubicBezTo>
                <a:cubicBezTo>
                  <a:pt x="509" y="389"/>
                  <a:pt x="509" y="389"/>
                  <a:pt x="509" y="389"/>
                </a:cubicBezTo>
                <a:cubicBezTo>
                  <a:pt x="492" y="368"/>
                  <a:pt x="492" y="368"/>
                  <a:pt x="492" y="368"/>
                </a:cubicBezTo>
                <a:cubicBezTo>
                  <a:pt x="486" y="360"/>
                  <a:pt x="491" y="349"/>
                  <a:pt x="500" y="347"/>
                </a:cubicBezTo>
                <a:cubicBezTo>
                  <a:pt x="526" y="342"/>
                  <a:pt x="526" y="342"/>
                  <a:pt x="526" y="342"/>
                </a:cubicBezTo>
                <a:cubicBezTo>
                  <a:pt x="506" y="325"/>
                  <a:pt x="506" y="325"/>
                  <a:pt x="506" y="325"/>
                </a:cubicBezTo>
                <a:cubicBezTo>
                  <a:pt x="499" y="318"/>
                  <a:pt x="501" y="306"/>
                  <a:pt x="511" y="303"/>
                </a:cubicBezTo>
                <a:cubicBezTo>
                  <a:pt x="535" y="294"/>
                  <a:pt x="535" y="294"/>
                  <a:pt x="535" y="294"/>
                </a:cubicBezTo>
                <a:cubicBezTo>
                  <a:pt x="513" y="280"/>
                  <a:pt x="513" y="280"/>
                  <a:pt x="513" y="280"/>
                </a:cubicBezTo>
                <a:cubicBezTo>
                  <a:pt x="504" y="275"/>
                  <a:pt x="504" y="263"/>
                  <a:pt x="513" y="258"/>
                </a:cubicBezTo>
                <a:cubicBezTo>
                  <a:pt x="535" y="244"/>
                  <a:pt x="535" y="244"/>
                  <a:pt x="535" y="244"/>
                </a:cubicBezTo>
                <a:cubicBezTo>
                  <a:pt x="511" y="235"/>
                  <a:pt x="511" y="235"/>
                  <a:pt x="511" y="235"/>
                </a:cubicBezTo>
                <a:cubicBezTo>
                  <a:pt x="501" y="231"/>
                  <a:pt x="499" y="219"/>
                  <a:pt x="506" y="213"/>
                </a:cubicBezTo>
                <a:cubicBezTo>
                  <a:pt x="526" y="195"/>
                  <a:pt x="526" y="195"/>
                  <a:pt x="526" y="195"/>
                </a:cubicBezTo>
                <a:cubicBezTo>
                  <a:pt x="500" y="191"/>
                  <a:pt x="500" y="191"/>
                  <a:pt x="500" y="191"/>
                </a:cubicBezTo>
                <a:cubicBezTo>
                  <a:pt x="490" y="189"/>
                  <a:pt x="486" y="178"/>
                  <a:pt x="492" y="170"/>
                </a:cubicBezTo>
                <a:cubicBezTo>
                  <a:pt x="508" y="149"/>
                  <a:pt x="508" y="149"/>
                  <a:pt x="508" y="149"/>
                </a:cubicBezTo>
                <a:cubicBezTo>
                  <a:pt x="482" y="149"/>
                  <a:pt x="482" y="149"/>
                  <a:pt x="482" y="149"/>
                </a:cubicBezTo>
                <a:cubicBezTo>
                  <a:pt x="472" y="150"/>
                  <a:pt x="466" y="139"/>
                  <a:pt x="470" y="131"/>
                </a:cubicBezTo>
                <a:cubicBezTo>
                  <a:pt x="482" y="107"/>
                  <a:pt x="482" y="107"/>
                  <a:pt x="482" y="107"/>
                </a:cubicBezTo>
                <a:cubicBezTo>
                  <a:pt x="456" y="112"/>
                  <a:pt x="456" y="112"/>
                  <a:pt x="456" y="112"/>
                </a:cubicBezTo>
                <a:cubicBezTo>
                  <a:pt x="447" y="114"/>
                  <a:pt x="438" y="105"/>
                  <a:pt x="441" y="96"/>
                </a:cubicBezTo>
                <a:cubicBezTo>
                  <a:pt x="449" y="70"/>
                  <a:pt x="449" y="70"/>
                  <a:pt x="449" y="70"/>
                </a:cubicBezTo>
                <a:cubicBezTo>
                  <a:pt x="424" y="80"/>
                  <a:pt x="424" y="80"/>
                  <a:pt x="424" y="80"/>
                </a:cubicBezTo>
                <a:cubicBezTo>
                  <a:pt x="415" y="84"/>
                  <a:pt x="405" y="77"/>
                  <a:pt x="406" y="67"/>
                </a:cubicBezTo>
                <a:cubicBezTo>
                  <a:pt x="409" y="40"/>
                  <a:pt x="409" y="40"/>
                  <a:pt x="409" y="40"/>
                </a:cubicBezTo>
                <a:cubicBezTo>
                  <a:pt x="387" y="55"/>
                  <a:pt x="387" y="55"/>
                  <a:pt x="387" y="55"/>
                </a:cubicBezTo>
                <a:cubicBezTo>
                  <a:pt x="378" y="60"/>
                  <a:pt x="368" y="55"/>
                  <a:pt x="367" y="45"/>
                </a:cubicBezTo>
                <a:cubicBezTo>
                  <a:pt x="365" y="18"/>
                  <a:pt x="365" y="18"/>
                  <a:pt x="365" y="18"/>
                </a:cubicBezTo>
                <a:cubicBezTo>
                  <a:pt x="345" y="36"/>
                  <a:pt x="345" y="36"/>
                  <a:pt x="345" y="36"/>
                </a:cubicBezTo>
                <a:cubicBezTo>
                  <a:pt x="338" y="43"/>
                  <a:pt x="326" y="40"/>
                  <a:pt x="324" y="30"/>
                </a:cubicBezTo>
                <a:cubicBezTo>
                  <a:pt x="317" y="5"/>
                  <a:pt x="317" y="5"/>
                  <a:pt x="317" y="5"/>
                </a:cubicBezTo>
                <a:cubicBezTo>
                  <a:pt x="301" y="26"/>
                  <a:pt x="301" y="26"/>
                  <a:pt x="301" y="26"/>
                </a:cubicBezTo>
                <a:cubicBezTo>
                  <a:pt x="295" y="34"/>
                  <a:pt x="283" y="33"/>
                  <a:pt x="279" y="24"/>
                </a:cubicBezTo>
                <a:cubicBezTo>
                  <a:pt x="268" y="0"/>
                  <a:pt x="268" y="0"/>
                  <a:pt x="268" y="0"/>
                </a:cubicBezTo>
                <a:cubicBezTo>
                  <a:pt x="256" y="24"/>
                  <a:pt x="256" y="24"/>
                  <a:pt x="256" y="24"/>
                </a:cubicBezTo>
                <a:cubicBezTo>
                  <a:pt x="252" y="33"/>
                  <a:pt x="240" y="34"/>
                  <a:pt x="234" y="26"/>
                </a:cubicBezTo>
                <a:cubicBezTo>
                  <a:pt x="218" y="5"/>
                  <a:pt x="218" y="5"/>
                  <a:pt x="218" y="5"/>
                </a:cubicBezTo>
                <a:cubicBezTo>
                  <a:pt x="211" y="31"/>
                  <a:pt x="211" y="31"/>
                  <a:pt x="211" y="31"/>
                </a:cubicBezTo>
                <a:cubicBezTo>
                  <a:pt x="209" y="40"/>
                  <a:pt x="197" y="43"/>
                  <a:pt x="190" y="37"/>
                </a:cubicBezTo>
                <a:cubicBezTo>
                  <a:pt x="170" y="18"/>
                  <a:pt x="170" y="18"/>
                  <a:pt x="170" y="18"/>
                </a:cubicBezTo>
                <a:cubicBezTo>
                  <a:pt x="168" y="45"/>
                  <a:pt x="168" y="45"/>
                  <a:pt x="168" y="45"/>
                </a:cubicBezTo>
                <a:cubicBezTo>
                  <a:pt x="168" y="55"/>
                  <a:pt x="157" y="60"/>
                  <a:pt x="148" y="55"/>
                </a:cubicBezTo>
                <a:cubicBezTo>
                  <a:pt x="126" y="41"/>
                  <a:pt x="126" y="41"/>
                  <a:pt x="126" y="41"/>
                </a:cubicBezTo>
                <a:cubicBezTo>
                  <a:pt x="129" y="67"/>
                  <a:pt x="129" y="67"/>
                  <a:pt x="129" y="67"/>
                </a:cubicBezTo>
                <a:cubicBezTo>
                  <a:pt x="130" y="77"/>
                  <a:pt x="120" y="84"/>
                  <a:pt x="111" y="80"/>
                </a:cubicBezTo>
                <a:cubicBezTo>
                  <a:pt x="86" y="71"/>
                  <a:pt x="86" y="71"/>
                  <a:pt x="86" y="71"/>
                </a:cubicBezTo>
                <a:cubicBezTo>
                  <a:pt x="94" y="96"/>
                  <a:pt x="94" y="96"/>
                  <a:pt x="94" y="96"/>
                </a:cubicBezTo>
                <a:cubicBezTo>
                  <a:pt x="97" y="105"/>
                  <a:pt x="89" y="114"/>
                  <a:pt x="79" y="112"/>
                </a:cubicBezTo>
                <a:close/>
                <a:moveTo>
                  <a:pt x="81" y="290"/>
                </a:moveTo>
                <a:cubicBezTo>
                  <a:pt x="65" y="290"/>
                  <a:pt x="52" y="276"/>
                  <a:pt x="53" y="259"/>
                </a:cubicBezTo>
                <a:cubicBezTo>
                  <a:pt x="54" y="243"/>
                  <a:pt x="68" y="230"/>
                  <a:pt x="84" y="231"/>
                </a:cubicBezTo>
                <a:cubicBezTo>
                  <a:pt x="100" y="232"/>
                  <a:pt x="113" y="246"/>
                  <a:pt x="112" y="262"/>
                </a:cubicBezTo>
                <a:cubicBezTo>
                  <a:pt x="112" y="278"/>
                  <a:pt x="98" y="291"/>
                  <a:pt x="81" y="290"/>
                </a:cubicBezTo>
                <a:close/>
                <a:moveTo>
                  <a:pt x="109" y="414"/>
                </a:moveTo>
                <a:cubicBezTo>
                  <a:pt x="98" y="402"/>
                  <a:pt x="99" y="383"/>
                  <a:pt x="111" y="372"/>
                </a:cubicBezTo>
                <a:cubicBezTo>
                  <a:pt x="123" y="361"/>
                  <a:pt x="142" y="362"/>
                  <a:pt x="153" y="374"/>
                </a:cubicBezTo>
                <a:cubicBezTo>
                  <a:pt x="164" y="386"/>
                  <a:pt x="163" y="405"/>
                  <a:pt x="151" y="416"/>
                </a:cubicBezTo>
                <a:cubicBezTo>
                  <a:pt x="139" y="427"/>
                  <a:pt x="120" y="426"/>
                  <a:pt x="109" y="414"/>
                </a:cubicBezTo>
                <a:close/>
                <a:moveTo>
                  <a:pt x="258" y="484"/>
                </a:moveTo>
                <a:cubicBezTo>
                  <a:pt x="242" y="483"/>
                  <a:pt x="229" y="469"/>
                  <a:pt x="229" y="453"/>
                </a:cubicBezTo>
                <a:cubicBezTo>
                  <a:pt x="230" y="436"/>
                  <a:pt x="244" y="424"/>
                  <a:pt x="261" y="424"/>
                </a:cubicBezTo>
                <a:cubicBezTo>
                  <a:pt x="277" y="425"/>
                  <a:pt x="290" y="439"/>
                  <a:pt x="289" y="456"/>
                </a:cubicBezTo>
                <a:cubicBezTo>
                  <a:pt x="288" y="472"/>
                  <a:pt x="274" y="485"/>
                  <a:pt x="258" y="484"/>
                </a:cubicBezTo>
                <a:close/>
                <a:moveTo>
                  <a:pt x="415" y="386"/>
                </a:moveTo>
                <a:cubicBezTo>
                  <a:pt x="426" y="398"/>
                  <a:pt x="425" y="417"/>
                  <a:pt x="413" y="428"/>
                </a:cubicBezTo>
                <a:cubicBezTo>
                  <a:pt x="401" y="439"/>
                  <a:pt x="382" y="438"/>
                  <a:pt x="371" y="426"/>
                </a:cubicBezTo>
                <a:cubicBezTo>
                  <a:pt x="360" y="414"/>
                  <a:pt x="360" y="395"/>
                  <a:pt x="373" y="384"/>
                </a:cubicBezTo>
                <a:cubicBezTo>
                  <a:pt x="385" y="373"/>
                  <a:pt x="404" y="374"/>
                  <a:pt x="415" y="386"/>
                </a:cubicBezTo>
                <a:close/>
                <a:moveTo>
                  <a:pt x="454" y="248"/>
                </a:moveTo>
                <a:cubicBezTo>
                  <a:pt x="471" y="248"/>
                  <a:pt x="483" y="262"/>
                  <a:pt x="483" y="279"/>
                </a:cubicBezTo>
                <a:cubicBezTo>
                  <a:pt x="482" y="295"/>
                  <a:pt x="468" y="308"/>
                  <a:pt x="452" y="307"/>
                </a:cubicBezTo>
                <a:cubicBezTo>
                  <a:pt x="435" y="307"/>
                  <a:pt x="422" y="293"/>
                  <a:pt x="423" y="276"/>
                </a:cubicBezTo>
                <a:cubicBezTo>
                  <a:pt x="424" y="260"/>
                  <a:pt x="438" y="247"/>
                  <a:pt x="454" y="248"/>
                </a:cubicBezTo>
                <a:close/>
                <a:moveTo>
                  <a:pt x="427" y="124"/>
                </a:moveTo>
                <a:cubicBezTo>
                  <a:pt x="438" y="136"/>
                  <a:pt x="437" y="155"/>
                  <a:pt x="425" y="166"/>
                </a:cubicBezTo>
                <a:cubicBezTo>
                  <a:pt x="413" y="177"/>
                  <a:pt x="394" y="176"/>
                  <a:pt x="383" y="164"/>
                </a:cubicBezTo>
                <a:cubicBezTo>
                  <a:pt x="371" y="152"/>
                  <a:pt x="372" y="133"/>
                  <a:pt x="384" y="122"/>
                </a:cubicBezTo>
                <a:cubicBezTo>
                  <a:pt x="397" y="111"/>
                  <a:pt x="416" y="112"/>
                  <a:pt x="427" y="124"/>
                </a:cubicBezTo>
                <a:close/>
                <a:moveTo>
                  <a:pt x="369" y="177"/>
                </a:moveTo>
                <a:cubicBezTo>
                  <a:pt x="419" y="233"/>
                  <a:pt x="415" y="319"/>
                  <a:pt x="360" y="370"/>
                </a:cubicBezTo>
                <a:cubicBezTo>
                  <a:pt x="304" y="421"/>
                  <a:pt x="218" y="417"/>
                  <a:pt x="167" y="361"/>
                </a:cubicBezTo>
                <a:cubicBezTo>
                  <a:pt x="116" y="305"/>
                  <a:pt x="120" y="219"/>
                  <a:pt x="176" y="168"/>
                </a:cubicBezTo>
                <a:cubicBezTo>
                  <a:pt x="231" y="117"/>
                  <a:pt x="318" y="121"/>
                  <a:pt x="369" y="177"/>
                </a:cubicBezTo>
                <a:close/>
                <a:moveTo>
                  <a:pt x="278" y="54"/>
                </a:moveTo>
                <a:cubicBezTo>
                  <a:pt x="294" y="55"/>
                  <a:pt x="307" y="69"/>
                  <a:pt x="306" y="85"/>
                </a:cubicBezTo>
                <a:cubicBezTo>
                  <a:pt x="305" y="102"/>
                  <a:pt x="291" y="115"/>
                  <a:pt x="275" y="114"/>
                </a:cubicBezTo>
                <a:cubicBezTo>
                  <a:pt x="258" y="113"/>
                  <a:pt x="246" y="99"/>
                  <a:pt x="246" y="83"/>
                </a:cubicBezTo>
                <a:cubicBezTo>
                  <a:pt x="247" y="66"/>
                  <a:pt x="261" y="53"/>
                  <a:pt x="278" y="54"/>
                </a:cubicBezTo>
                <a:close/>
                <a:moveTo>
                  <a:pt x="165" y="112"/>
                </a:moveTo>
                <a:cubicBezTo>
                  <a:pt x="176" y="124"/>
                  <a:pt x="175" y="143"/>
                  <a:pt x="163" y="154"/>
                </a:cubicBezTo>
                <a:cubicBezTo>
                  <a:pt x="151" y="165"/>
                  <a:pt x="132" y="165"/>
                  <a:pt x="121" y="152"/>
                </a:cubicBezTo>
                <a:cubicBezTo>
                  <a:pt x="110" y="140"/>
                  <a:pt x="110" y="121"/>
                  <a:pt x="123" y="110"/>
                </a:cubicBezTo>
                <a:cubicBezTo>
                  <a:pt x="135" y="99"/>
                  <a:pt x="154" y="100"/>
                  <a:pt x="165" y="112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1798" kern="0">
              <a:solidFill>
                <a:srgbClr val="FFFFFF"/>
              </a:solidFill>
            </a:endParaRPr>
          </a:p>
        </p:txBody>
      </p:sp>
      <p:sp>
        <p:nvSpPr>
          <p:cNvPr id="9" name="Freeform 8"/>
          <p:cNvSpPr>
            <a:spLocks noEditPoints="1"/>
          </p:cNvSpPr>
          <p:nvPr userDrawn="1"/>
        </p:nvSpPr>
        <p:spPr bwMode="auto">
          <a:xfrm>
            <a:off x="9489846" y="4320211"/>
            <a:ext cx="1189429" cy="1194768"/>
          </a:xfrm>
          <a:custGeom>
            <a:avLst/>
            <a:gdLst>
              <a:gd name="T0" fmla="*/ 21 w 317"/>
              <a:gd name="T1" fmla="*/ 79 h 318"/>
              <a:gd name="T2" fmla="*/ 5 w 317"/>
              <a:gd name="T3" fmla="*/ 116 h 318"/>
              <a:gd name="T4" fmla="*/ 15 w 317"/>
              <a:gd name="T5" fmla="*/ 159 h 318"/>
              <a:gd name="T6" fmla="*/ 16 w 317"/>
              <a:gd name="T7" fmla="*/ 179 h 318"/>
              <a:gd name="T8" fmla="*/ 13 w 317"/>
              <a:gd name="T9" fmla="*/ 223 h 318"/>
              <a:gd name="T10" fmla="*/ 34 w 317"/>
              <a:gd name="T11" fmla="*/ 257 h 318"/>
              <a:gd name="T12" fmla="*/ 63 w 317"/>
              <a:gd name="T13" fmla="*/ 286 h 318"/>
              <a:gd name="T14" fmla="*/ 106 w 317"/>
              <a:gd name="T15" fmla="*/ 292 h 318"/>
              <a:gd name="T16" fmla="*/ 126 w 317"/>
              <a:gd name="T17" fmla="*/ 299 h 318"/>
              <a:gd name="T18" fmla="*/ 165 w 317"/>
              <a:gd name="T19" fmla="*/ 318 h 318"/>
              <a:gd name="T20" fmla="*/ 205 w 317"/>
              <a:gd name="T21" fmla="*/ 311 h 318"/>
              <a:gd name="T22" fmla="*/ 242 w 317"/>
              <a:gd name="T23" fmla="*/ 294 h 318"/>
              <a:gd name="T24" fmla="*/ 264 w 317"/>
              <a:gd name="T25" fmla="*/ 256 h 318"/>
              <a:gd name="T26" fmla="*/ 277 w 317"/>
              <a:gd name="T27" fmla="*/ 240 h 318"/>
              <a:gd name="T28" fmla="*/ 306 w 317"/>
              <a:gd name="T29" fmla="*/ 217 h 318"/>
              <a:gd name="T30" fmla="*/ 316 w 317"/>
              <a:gd name="T31" fmla="*/ 178 h 318"/>
              <a:gd name="T32" fmla="*/ 301 w 317"/>
              <a:gd name="T33" fmla="*/ 137 h 318"/>
              <a:gd name="T34" fmla="*/ 296 w 317"/>
              <a:gd name="T35" fmla="*/ 117 h 318"/>
              <a:gd name="T36" fmla="*/ 293 w 317"/>
              <a:gd name="T37" fmla="*/ 74 h 318"/>
              <a:gd name="T38" fmla="*/ 267 w 317"/>
              <a:gd name="T39" fmla="*/ 43 h 318"/>
              <a:gd name="T40" fmla="*/ 231 w 317"/>
              <a:gd name="T41" fmla="*/ 34 h 318"/>
              <a:gd name="T42" fmla="*/ 212 w 317"/>
              <a:gd name="T43" fmla="*/ 25 h 318"/>
              <a:gd name="T44" fmla="*/ 176 w 317"/>
              <a:gd name="T45" fmla="*/ 1 h 318"/>
              <a:gd name="T46" fmla="*/ 135 w 317"/>
              <a:gd name="T47" fmla="*/ 1 h 318"/>
              <a:gd name="T48" fmla="*/ 96 w 317"/>
              <a:gd name="T49" fmla="*/ 12 h 318"/>
              <a:gd name="T50" fmla="*/ 69 w 317"/>
              <a:gd name="T51" fmla="*/ 46 h 318"/>
              <a:gd name="T52" fmla="*/ 54 w 317"/>
              <a:gd name="T53" fmla="*/ 60 h 318"/>
              <a:gd name="T54" fmla="*/ 44 w 317"/>
              <a:gd name="T55" fmla="*/ 156 h 318"/>
              <a:gd name="T56" fmla="*/ 170 w 317"/>
              <a:gd name="T57" fmla="*/ 142 h 318"/>
              <a:gd name="T58" fmla="*/ 123 w 317"/>
              <a:gd name="T59" fmla="*/ 179 h 318"/>
              <a:gd name="T60" fmla="*/ 123 w 317"/>
              <a:gd name="T61" fmla="*/ 179 h 318"/>
              <a:gd name="T62" fmla="*/ 124 w 317"/>
              <a:gd name="T63" fmla="*/ 255 h 318"/>
              <a:gd name="T64" fmla="*/ 166 w 317"/>
              <a:gd name="T65" fmla="*/ 199 h 318"/>
              <a:gd name="T66" fmla="*/ 177 w 317"/>
              <a:gd name="T67" fmla="*/ 195 h 318"/>
              <a:gd name="T68" fmla="*/ 177 w 317"/>
              <a:gd name="T69" fmla="*/ 195 h 318"/>
              <a:gd name="T70" fmla="*/ 246 w 317"/>
              <a:gd name="T71" fmla="*/ 212 h 318"/>
              <a:gd name="T72" fmla="*/ 243 w 317"/>
              <a:gd name="T73" fmla="*/ 101 h 318"/>
              <a:gd name="T74" fmla="*/ 181 w 317"/>
              <a:gd name="T75" fmla="*/ 125 h 318"/>
              <a:gd name="T76" fmla="*/ 187 w 317"/>
              <a:gd name="T77" fmla="*/ 130 h 318"/>
              <a:gd name="T78" fmla="*/ 182 w 317"/>
              <a:gd name="T79" fmla="*/ 60 h 318"/>
              <a:gd name="T80" fmla="*/ 78 w 317"/>
              <a:gd name="T81" fmla="*/ 97 h 318"/>
              <a:gd name="T82" fmla="*/ 118 w 317"/>
              <a:gd name="T83" fmla="*/ 154 h 318"/>
              <a:gd name="T84" fmla="*/ 34 w 317"/>
              <a:gd name="T85" fmla="*/ 168 h 318"/>
              <a:gd name="T86" fmla="*/ 34 w 317"/>
              <a:gd name="T87" fmla="*/ 168 h 318"/>
              <a:gd name="T88" fmla="*/ 120 w 317"/>
              <a:gd name="T89" fmla="*/ 267 h 318"/>
              <a:gd name="T90" fmla="*/ 132 w 317"/>
              <a:gd name="T91" fmla="*/ 270 h 318"/>
              <a:gd name="T92" fmla="*/ 205 w 317"/>
              <a:gd name="T93" fmla="*/ 274 h 318"/>
              <a:gd name="T94" fmla="*/ 205 w 317"/>
              <a:gd name="T95" fmla="*/ 274 h 318"/>
              <a:gd name="T96" fmla="*/ 283 w 317"/>
              <a:gd name="T97" fmla="*/ 161 h 318"/>
              <a:gd name="T98" fmla="*/ 252 w 317"/>
              <a:gd name="T99" fmla="*/ 94 h 318"/>
              <a:gd name="T100" fmla="*/ 254 w 317"/>
              <a:gd name="T101" fmla="*/ 78 h 318"/>
              <a:gd name="T102" fmla="*/ 229 w 317"/>
              <a:gd name="T103" fmla="*/ 56 h 318"/>
              <a:gd name="T104" fmla="*/ 122 w 317"/>
              <a:gd name="T105" fmla="*/ 40 h 318"/>
              <a:gd name="T106" fmla="*/ 68 w 317"/>
              <a:gd name="T107" fmla="*/ 90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17" h="318">
                <a:moveTo>
                  <a:pt x="40" y="77"/>
                </a:moveTo>
                <a:cubicBezTo>
                  <a:pt x="40" y="77"/>
                  <a:pt x="40" y="78"/>
                  <a:pt x="40" y="78"/>
                </a:cubicBezTo>
                <a:cubicBezTo>
                  <a:pt x="25" y="73"/>
                  <a:pt x="25" y="73"/>
                  <a:pt x="25" y="73"/>
                </a:cubicBezTo>
                <a:cubicBezTo>
                  <a:pt x="21" y="79"/>
                  <a:pt x="21" y="79"/>
                  <a:pt x="21" y="79"/>
                </a:cubicBezTo>
                <a:cubicBezTo>
                  <a:pt x="18" y="85"/>
                  <a:pt x="18" y="85"/>
                  <a:pt x="18" y="85"/>
                </a:cubicBezTo>
                <a:cubicBezTo>
                  <a:pt x="29" y="96"/>
                  <a:pt x="29" y="96"/>
                  <a:pt x="29" y="96"/>
                </a:cubicBezTo>
                <a:cubicBezTo>
                  <a:pt x="26" y="102"/>
                  <a:pt x="23" y="109"/>
                  <a:pt x="21" y="116"/>
                </a:cubicBezTo>
                <a:cubicBezTo>
                  <a:pt x="5" y="116"/>
                  <a:pt x="5" y="116"/>
                  <a:pt x="5" y="116"/>
                </a:cubicBezTo>
                <a:cubicBezTo>
                  <a:pt x="4" y="123"/>
                  <a:pt x="4" y="123"/>
                  <a:pt x="4" y="123"/>
                </a:cubicBezTo>
                <a:cubicBezTo>
                  <a:pt x="2" y="129"/>
                  <a:pt x="2" y="129"/>
                  <a:pt x="2" y="129"/>
                </a:cubicBezTo>
                <a:cubicBezTo>
                  <a:pt x="17" y="137"/>
                  <a:pt x="17" y="137"/>
                  <a:pt x="17" y="137"/>
                </a:cubicBezTo>
                <a:cubicBezTo>
                  <a:pt x="15" y="144"/>
                  <a:pt x="15" y="151"/>
                  <a:pt x="15" y="159"/>
                </a:cubicBezTo>
                <a:cubicBezTo>
                  <a:pt x="0" y="163"/>
                  <a:pt x="0" y="163"/>
                  <a:pt x="0" y="163"/>
                </a:cubicBezTo>
                <a:cubicBezTo>
                  <a:pt x="0" y="170"/>
                  <a:pt x="0" y="170"/>
                  <a:pt x="0" y="170"/>
                </a:cubicBezTo>
                <a:cubicBezTo>
                  <a:pt x="1" y="177"/>
                  <a:pt x="1" y="177"/>
                  <a:pt x="1" y="177"/>
                </a:cubicBezTo>
                <a:cubicBezTo>
                  <a:pt x="16" y="179"/>
                  <a:pt x="16" y="179"/>
                  <a:pt x="16" y="179"/>
                </a:cubicBezTo>
                <a:cubicBezTo>
                  <a:pt x="17" y="187"/>
                  <a:pt x="19" y="194"/>
                  <a:pt x="21" y="201"/>
                </a:cubicBezTo>
                <a:cubicBezTo>
                  <a:pt x="8" y="210"/>
                  <a:pt x="8" y="210"/>
                  <a:pt x="8" y="210"/>
                </a:cubicBezTo>
                <a:cubicBezTo>
                  <a:pt x="11" y="216"/>
                  <a:pt x="11" y="216"/>
                  <a:pt x="11" y="216"/>
                </a:cubicBezTo>
                <a:cubicBezTo>
                  <a:pt x="13" y="223"/>
                  <a:pt x="13" y="223"/>
                  <a:pt x="13" y="223"/>
                </a:cubicBezTo>
                <a:cubicBezTo>
                  <a:pt x="29" y="220"/>
                  <a:pt x="29" y="220"/>
                  <a:pt x="29" y="220"/>
                </a:cubicBezTo>
                <a:cubicBezTo>
                  <a:pt x="32" y="227"/>
                  <a:pt x="36" y="233"/>
                  <a:pt x="40" y="240"/>
                </a:cubicBezTo>
                <a:cubicBezTo>
                  <a:pt x="30" y="252"/>
                  <a:pt x="30" y="252"/>
                  <a:pt x="30" y="252"/>
                </a:cubicBezTo>
                <a:cubicBezTo>
                  <a:pt x="34" y="257"/>
                  <a:pt x="34" y="257"/>
                  <a:pt x="34" y="257"/>
                </a:cubicBezTo>
                <a:cubicBezTo>
                  <a:pt x="38" y="263"/>
                  <a:pt x="38" y="263"/>
                  <a:pt x="38" y="263"/>
                </a:cubicBezTo>
                <a:cubicBezTo>
                  <a:pt x="53" y="256"/>
                  <a:pt x="53" y="256"/>
                  <a:pt x="53" y="256"/>
                </a:cubicBezTo>
                <a:cubicBezTo>
                  <a:pt x="58" y="261"/>
                  <a:pt x="63" y="266"/>
                  <a:pt x="69" y="271"/>
                </a:cubicBezTo>
                <a:cubicBezTo>
                  <a:pt x="63" y="286"/>
                  <a:pt x="63" y="286"/>
                  <a:pt x="63" y="286"/>
                </a:cubicBezTo>
                <a:cubicBezTo>
                  <a:pt x="69" y="290"/>
                  <a:pt x="69" y="290"/>
                  <a:pt x="69" y="290"/>
                </a:cubicBezTo>
                <a:cubicBezTo>
                  <a:pt x="74" y="293"/>
                  <a:pt x="74" y="293"/>
                  <a:pt x="74" y="293"/>
                </a:cubicBezTo>
                <a:cubicBezTo>
                  <a:pt x="86" y="283"/>
                  <a:pt x="86" y="283"/>
                  <a:pt x="86" y="283"/>
                </a:cubicBezTo>
                <a:cubicBezTo>
                  <a:pt x="93" y="287"/>
                  <a:pt x="99" y="290"/>
                  <a:pt x="106" y="292"/>
                </a:cubicBezTo>
                <a:cubicBezTo>
                  <a:pt x="105" y="308"/>
                  <a:pt x="105" y="308"/>
                  <a:pt x="105" y="308"/>
                </a:cubicBezTo>
                <a:cubicBezTo>
                  <a:pt x="111" y="310"/>
                  <a:pt x="111" y="310"/>
                  <a:pt x="111" y="310"/>
                </a:cubicBezTo>
                <a:cubicBezTo>
                  <a:pt x="118" y="312"/>
                  <a:pt x="118" y="312"/>
                  <a:pt x="118" y="312"/>
                </a:cubicBezTo>
                <a:cubicBezTo>
                  <a:pt x="126" y="299"/>
                  <a:pt x="126" y="299"/>
                  <a:pt x="126" y="299"/>
                </a:cubicBezTo>
                <a:cubicBezTo>
                  <a:pt x="133" y="300"/>
                  <a:pt x="140" y="301"/>
                  <a:pt x="148" y="302"/>
                </a:cubicBezTo>
                <a:cubicBezTo>
                  <a:pt x="151" y="318"/>
                  <a:pt x="151" y="318"/>
                  <a:pt x="151" y="318"/>
                </a:cubicBezTo>
                <a:cubicBezTo>
                  <a:pt x="158" y="318"/>
                  <a:pt x="158" y="318"/>
                  <a:pt x="158" y="318"/>
                </a:cubicBezTo>
                <a:cubicBezTo>
                  <a:pt x="165" y="318"/>
                  <a:pt x="165" y="318"/>
                  <a:pt x="165" y="318"/>
                </a:cubicBezTo>
                <a:cubicBezTo>
                  <a:pt x="169" y="302"/>
                  <a:pt x="169" y="302"/>
                  <a:pt x="169" y="302"/>
                </a:cubicBezTo>
                <a:cubicBezTo>
                  <a:pt x="176" y="301"/>
                  <a:pt x="183" y="300"/>
                  <a:pt x="190" y="299"/>
                </a:cubicBezTo>
                <a:cubicBezTo>
                  <a:pt x="199" y="313"/>
                  <a:pt x="199" y="313"/>
                  <a:pt x="199" y="313"/>
                </a:cubicBezTo>
                <a:cubicBezTo>
                  <a:pt x="205" y="311"/>
                  <a:pt x="205" y="311"/>
                  <a:pt x="205" y="311"/>
                </a:cubicBezTo>
                <a:cubicBezTo>
                  <a:pt x="211" y="309"/>
                  <a:pt x="211" y="309"/>
                  <a:pt x="211" y="309"/>
                </a:cubicBezTo>
                <a:cubicBezTo>
                  <a:pt x="210" y="293"/>
                  <a:pt x="210" y="293"/>
                  <a:pt x="210" y="293"/>
                </a:cubicBezTo>
                <a:cubicBezTo>
                  <a:pt x="217" y="290"/>
                  <a:pt x="224" y="287"/>
                  <a:pt x="230" y="283"/>
                </a:cubicBezTo>
                <a:cubicBezTo>
                  <a:pt x="242" y="294"/>
                  <a:pt x="242" y="294"/>
                  <a:pt x="242" y="294"/>
                </a:cubicBezTo>
                <a:cubicBezTo>
                  <a:pt x="248" y="290"/>
                  <a:pt x="248" y="290"/>
                  <a:pt x="248" y="290"/>
                </a:cubicBezTo>
                <a:cubicBezTo>
                  <a:pt x="253" y="286"/>
                  <a:pt x="253" y="286"/>
                  <a:pt x="253" y="286"/>
                </a:cubicBezTo>
                <a:cubicBezTo>
                  <a:pt x="248" y="271"/>
                  <a:pt x="248" y="271"/>
                  <a:pt x="248" y="271"/>
                </a:cubicBezTo>
                <a:cubicBezTo>
                  <a:pt x="253" y="267"/>
                  <a:pt x="259" y="262"/>
                  <a:pt x="264" y="256"/>
                </a:cubicBezTo>
                <a:cubicBezTo>
                  <a:pt x="278" y="263"/>
                  <a:pt x="278" y="263"/>
                  <a:pt x="278" y="263"/>
                </a:cubicBezTo>
                <a:cubicBezTo>
                  <a:pt x="282" y="258"/>
                  <a:pt x="282" y="258"/>
                  <a:pt x="282" y="258"/>
                </a:cubicBezTo>
                <a:cubicBezTo>
                  <a:pt x="287" y="253"/>
                  <a:pt x="287" y="253"/>
                  <a:pt x="287" y="253"/>
                </a:cubicBezTo>
                <a:cubicBezTo>
                  <a:pt x="277" y="240"/>
                  <a:pt x="277" y="240"/>
                  <a:pt x="277" y="240"/>
                </a:cubicBezTo>
                <a:cubicBezTo>
                  <a:pt x="277" y="240"/>
                  <a:pt x="277" y="240"/>
                  <a:pt x="277" y="240"/>
                </a:cubicBezTo>
                <a:cubicBezTo>
                  <a:pt x="281" y="234"/>
                  <a:pt x="285" y="228"/>
                  <a:pt x="288" y="221"/>
                </a:cubicBezTo>
                <a:cubicBezTo>
                  <a:pt x="304" y="223"/>
                  <a:pt x="304" y="223"/>
                  <a:pt x="304" y="223"/>
                </a:cubicBezTo>
                <a:cubicBezTo>
                  <a:pt x="306" y="217"/>
                  <a:pt x="306" y="217"/>
                  <a:pt x="306" y="217"/>
                </a:cubicBezTo>
                <a:cubicBezTo>
                  <a:pt x="309" y="211"/>
                  <a:pt x="309" y="211"/>
                  <a:pt x="309" y="211"/>
                </a:cubicBezTo>
                <a:cubicBezTo>
                  <a:pt x="296" y="202"/>
                  <a:pt x="296" y="202"/>
                  <a:pt x="296" y="202"/>
                </a:cubicBezTo>
                <a:cubicBezTo>
                  <a:pt x="298" y="195"/>
                  <a:pt x="300" y="187"/>
                  <a:pt x="301" y="180"/>
                </a:cubicBezTo>
                <a:cubicBezTo>
                  <a:pt x="316" y="178"/>
                  <a:pt x="316" y="178"/>
                  <a:pt x="316" y="178"/>
                </a:cubicBezTo>
                <a:cubicBezTo>
                  <a:pt x="317" y="171"/>
                  <a:pt x="317" y="171"/>
                  <a:pt x="317" y="171"/>
                </a:cubicBezTo>
                <a:cubicBezTo>
                  <a:pt x="317" y="164"/>
                  <a:pt x="317" y="164"/>
                  <a:pt x="317" y="164"/>
                </a:cubicBezTo>
                <a:cubicBezTo>
                  <a:pt x="302" y="159"/>
                  <a:pt x="302" y="159"/>
                  <a:pt x="302" y="159"/>
                </a:cubicBezTo>
                <a:cubicBezTo>
                  <a:pt x="302" y="152"/>
                  <a:pt x="302" y="145"/>
                  <a:pt x="301" y="137"/>
                </a:cubicBezTo>
                <a:cubicBezTo>
                  <a:pt x="315" y="130"/>
                  <a:pt x="315" y="130"/>
                  <a:pt x="315" y="130"/>
                </a:cubicBezTo>
                <a:cubicBezTo>
                  <a:pt x="314" y="124"/>
                  <a:pt x="314" y="124"/>
                  <a:pt x="314" y="124"/>
                </a:cubicBezTo>
                <a:cubicBezTo>
                  <a:pt x="312" y="117"/>
                  <a:pt x="312" y="117"/>
                  <a:pt x="312" y="117"/>
                </a:cubicBezTo>
                <a:cubicBezTo>
                  <a:pt x="296" y="117"/>
                  <a:pt x="296" y="117"/>
                  <a:pt x="296" y="117"/>
                </a:cubicBezTo>
                <a:cubicBezTo>
                  <a:pt x="294" y="110"/>
                  <a:pt x="291" y="103"/>
                  <a:pt x="288" y="96"/>
                </a:cubicBezTo>
                <a:cubicBezTo>
                  <a:pt x="300" y="85"/>
                  <a:pt x="300" y="85"/>
                  <a:pt x="300" y="85"/>
                </a:cubicBezTo>
                <a:cubicBezTo>
                  <a:pt x="296" y="80"/>
                  <a:pt x="296" y="80"/>
                  <a:pt x="296" y="80"/>
                </a:cubicBezTo>
                <a:cubicBezTo>
                  <a:pt x="293" y="74"/>
                  <a:pt x="293" y="74"/>
                  <a:pt x="293" y="74"/>
                </a:cubicBezTo>
                <a:cubicBezTo>
                  <a:pt x="278" y="78"/>
                  <a:pt x="278" y="78"/>
                  <a:pt x="278" y="78"/>
                </a:cubicBezTo>
                <a:cubicBezTo>
                  <a:pt x="274" y="72"/>
                  <a:pt x="269" y="66"/>
                  <a:pt x="264" y="61"/>
                </a:cubicBezTo>
                <a:cubicBezTo>
                  <a:pt x="272" y="47"/>
                  <a:pt x="272" y="47"/>
                  <a:pt x="272" y="47"/>
                </a:cubicBezTo>
                <a:cubicBezTo>
                  <a:pt x="267" y="43"/>
                  <a:pt x="267" y="43"/>
                  <a:pt x="267" y="43"/>
                </a:cubicBezTo>
                <a:cubicBezTo>
                  <a:pt x="262" y="38"/>
                  <a:pt x="262" y="38"/>
                  <a:pt x="262" y="38"/>
                </a:cubicBezTo>
                <a:cubicBezTo>
                  <a:pt x="249" y="47"/>
                  <a:pt x="249" y="47"/>
                  <a:pt x="249" y="47"/>
                </a:cubicBezTo>
                <a:cubicBezTo>
                  <a:pt x="246" y="44"/>
                  <a:pt x="243" y="42"/>
                  <a:pt x="240" y="40"/>
                </a:cubicBezTo>
                <a:cubicBezTo>
                  <a:pt x="237" y="38"/>
                  <a:pt x="234" y="36"/>
                  <a:pt x="231" y="34"/>
                </a:cubicBezTo>
                <a:cubicBezTo>
                  <a:pt x="234" y="19"/>
                  <a:pt x="234" y="19"/>
                  <a:pt x="234" y="19"/>
                </a:cubicBezTo>
                <a:cubicBezTo>
                  <a:pt x="228" y="16"/>
                  <a:pt x="228" y="16"/>
                  <a:pt x="228" y="16"/>
                </a:cubicBezTo>
                <a:cubicBezTo>
                  <a:pt x="222" y="13"/>
                  <a:pt x="222" y="13"/>
                  <a:pt x="222" y="13"/>
                </a:cubicBezTo>
                <a:cubicBezTo>
                  <a:pt x="212" y="25"/>
                  <a:pt x="212" y="25"/>
                  <a:pt x="212" y="25"/>
                </a:cubicBezTo>
                <a:cubicBezTo>
                  <a:pt x="205" y="22"/>
                  <a:pt x="198" y="20"/>
                  <a:pt x="191" y="19"/>
                </a:cubicBezTo>
                <a:cubicBezTo>
                  <a:pt x="189" y="3"/>
                  <a:pt x="189" y="3"/>
                  <a:pt x="189" y="3"/>
                </a:cubicBezTo>
                <a:cubicBezTo>
                  <a:pt x="183" y="2"/>
                  <a:pt x="183" y="2"/>
                  <a:pt x="183" y="2"/>
                </a:cubicBezTo>
                <a:cubicBezTo>
                  <a:pt x="176" y="1"/>
                  <a:pt x="176" y="1"/>
                  <a:pt x="176" y="1"/>
                </a:cubicBezTo>
                <a:cubicBezTo>
                  <a:pt x="170" y="15"/>
                  <a:pt x="170" y="15"/>
                  <a:pt x="170" y="15"/>
                </a:cubicBezTo>
                <a:cubicBezTo>
                  <a:pt x="163" y="15"/>
                  <a:pt x="155" y="15"/>
                  <a:pt x="148" y="15"/>
                </a:cubicBezTo>
                <a:cubicBezTo>
                  <a:pt x="142" y="0"/>
                  <a:pt x="142" y="0"/>
                  <a:pt x="142" y="0"/>
                </a:cubicBezTo>
                <a:cubicBezTo>
                  <a:pt x="135" y="1"/>
                  <a:pt x="135" y="1"/>
                  <a:pt x="135" y="1"/>
                </a:cubicBezTo>
                <a:cubicBezTo>
                  <a:pt x="129" y="2"/>
                  <a:pt x="129" y="2"/>
                  <a:pt x="129" y="2"/>
                </a:cubicBezTo>
                <a:cubicBezTo>
                  <a:pt x="127" y="18"/>
                  <a:pt x="127" y="18"/>
                  <a:pt x="127" y="18"/>
                </a:cubicBezTo>
                <a:cubicBezTo>
                  <a:pt x="120" y="20"/>
                  <a:pt x="113" y="22"/>
                  <a:pt x="106" y="25"/>
                </a:cubicBezTo>
                <a:cubicBezTo>
                  <a:pt x="96" y="12"/>
                  <a:pt x="96" y="12"/>
                  <a:pt x="96" y="12"/>
                </a:cubicBezTo>
                <a:cubicBezTo>
                  <a:pt x="90" y="15"/>
                  <a:pt x="90" y="15"/>
                  <a:pt x="90" y="15"/>
                </a:cubicBezTo>
                <a:cubicBezTo>
                  <a:pt x="84" y="18"/>
                  <a:pt x="84" y="18"/>
                  <a:pt x="84" y="18"/>
                </a:cubicBezTo>
                <a:cubicBezTo>
                  <a:pt x="87" y="34"/>
                  <a:pt x="87" y="34"/>
                  <a:pt x="87" y="34"/>
                </a:cubicBezTo>
                <a:cubicBezTo>
                  <a:pt x="81" y="37"/>
                  <a:pt x="75" y="42"/>
                  <a:pt x="69" y="46"/>
                </a:cubicBezTo>
                <a:cubicBezTo>
                  <a:pt x="56" y="37"/>
                  <a:pt x="56" y="37"/>
                  <a:pt x="56" y="37"/>
                </a:cubicBezTo>
                <a:cubicBezTo>
                  <a:pt x="51" y="42"/>
                  <a:pt x="51" y="42"/>
                  <a:pt x="51" y="42"/>
                </a:cubicBezTo>
                <a:cubicBezTo>
                  <a:pt x="46" y="46"/>
                  <a:pt x="46" y="46"/>
                  <a:pt x="46" y="46"/>
                </a:cubicBezTo>
                <a:cubicBezTo>
                  <a:pt x="54" y="60"/>
                  <a:pt x="54" y="60"/>
                  <a:pt x="54" y="60"/>
                </a:cubicBezTo>
                <a:cubicBezTo>
                  <a:pt x="49" y="66"/>
                  <a:pt x="44" y="71"/>
                  <a:pt x="40" y="77"/>
                </a:cubicBezTo>
                <a:close/>
                <a:moveTo>
                  <a:pt x="52" y="93"/>
                </a:moveTo>
                <a:cubicBezTo>
                  <a:pt x="61" y="99"/>
                  <a:pt x="61" y="99"/>
                  <a:pt x="61" y="99"/>
                </a:cubicBezTo>
                <a:cubicBezTo>
                  <a:pt x="44" y="156"/>
                  <a:pt x="44" y="156"/>
                  <a:pt x="44" y="156"/>
                </a:cubicBezTo>
                <a:cubicBezTo>
                  <a:pt x="34" y="157"/>
                  <a:pt x="34" y="157"/>
                  <a:pt x="34" y="157"/>
                </a:cubicBezTo>
                <a:cubicBezTo>
                  <a:pt x="34" y="135"/>
                  <a:pt x="40" y="113"/>
                  <a:pt x="52" y="93"/>
                </a:cubicBezTo>
                <a:close/>
                <a:moveTo>
                  <a:pt x="142" y="148"/>
                </a:moveTo>
                <a:cubicBezTo>
                  <a:pt x="148" y="138"/>
                  <a:pt x="161" y="136"/>
                  <a:pt x="170" y="142"/>
                </a:cubicBezTo>
                <a:cubicBezTo>
                  <a:pt x="179" y="149"/>
                  <a:pt x="181" y="161"/>
                  <a:pt x="175" y="170"/>
                </a:cubicBezTo>
                <a:cubicBezTo>
                  <a:pt x="169" y="180"/>
                  <a:pt x="156" y="182"/>
                  <a:pt x="147" y="176"/>
                </a:cubicBezTo>
                <a:cubicBezTo>
                  <a:pt x="138" y="169"/>
                  <a:pt x="135" y="157"/>
                  <a:pt x="142" y="148"/>
                </a:cubicBezTo>
                <a:close/>
                <a:moveTo>
                  <a:pt x="123" y="179"/>
                </a:moveTo>
                <a:cubicBezTo>
                  <a:pt x="74" y="216"/>
                  <a:pt x="74" y="216"/>
                  <a:pt x="74" y="216"/>
                </a:cubicBezTo>
                <a:cubicBezTo>
                  <a:pt x="57" y="168"/>
                  <a:pt x="57" y="168"/>
                  <a:pt x="57" y="168"/>
                </a:cubicBezTo>
                <a:cubicBezTo>
                  <a:pt x="118" y="166"/>
                  <a:pt x="118" y="166"/>
                  <a:pt x="118" y="166"/>
                </a:cubicBezTo>
                <a:cubicBezTo>
                  <a:pt x="119" y="170"/>
                  <a:pt x="120" y="175"/>
                  <a:pt x="123" y="179"/>
                </a:cubicBezTo>
                <a:close/>
                <a:moveTo>
                  <a:pt x="130" y="188"/>
                </a:moveTo>
                <a:cubicBezTo>
                  <a:pt x="131" y="190"/>
                  <a:pt x="133" y="191"/>
                  <a:pt x="135" y="193"/>
                </a:cubicBezTo>
                <a:cubicBezTo>
                  <a:pt x="137" y="194"/>
                  <a:pt x="139" y="195"/>
                  <a:pt x="141" y="196"/>
                </a:cubicBezTo>
                <a:cubicBezTo>
                  <a:pt x="124" y="255"/>
                  <a:pt x="124" y="255"/>
                  <a:pt x="124" y="255"/>
                </a:cubicBezTo>
                <a:cubicBezTo>
                  <a:pt x="81" y="226"/>
                  <a:pt x="81" y="226"/>
                  <a:pt x="81" y="226"/>
                </a:cubicBezTo>
                <a:lnTo>
                  <a:pt x="130" y="188"/>
                </a:lnTo>
                <a:close/>
                <a:moveTo>
                  <a:pt x="152" y="199"/>
                </a:moveTo>
                <a:cubicBezTo>
                  <a:pt x="157" y="200"/>
                  <a:pt x="162" y="200"/>
                  <a:pt x="166" y="199"/>
                </a:cubicBezTo>
                <a:cubicBezTo>
                  <a:pt x="187" y="257"/>
                  <a:pt x="187" y="257"/>
                  <a:pt x="187" y="257"/>
                </a:cubicBezTo>
                <a:cubicBezTo>
                  <a:pt x="135" y="258"/>
                  <a:pt x="135" y="258"/>
                  <a:pt x="135" y="258"/>
                </a:cubicBezTo>
                <a:lnTo>
                  <a:pt x="152" y="199"/>
                </a:lnTo>
                <a:close/>
                <a:moveTo>
                  <a:pt x="177" y="195"/>
                </a:moveTo>
                <a:cubicBezTo>
                  <a:pt x="181" y="193"/>
                  <a:pt x="185" y="190"/>
                  <a:pt x="188" y="187"/>
                </a:cubicBezTo>
                <a:cubicBezTo>
                  <a:pt x="239" y="221"/>
                  <a:pt x="239" y="221"/>
                  <a:pt x="239" y="221"/>
                </a:cubicBezTo>
                <a:cubicBezTo>
                  <a:pt x="198" y="253"/>
                  <a:pt x="198" y="253"/>
                  <a:pt x="198" y="253"/>
                </a:cubicBezTo>
                <a:lnTo>
                  <a:pt x="177" y="195"/>
                </a:lnTo>
                <a:close/>
                <a:moveTo>
                  <a:pt x="195" y="177"/>
                </a:moveTo>
                <a:cubicBezTo>
                  <a:pt x="197" y="173"/>
                  <a:pt x="198" y="168"/>
                  <a:pt x="199" y="164"/>
                </a:cubicBezTo>
                <a:cubicBezTo>
                  <a:pt x="260" y="162"/>
                  <a:pt x="260" y="162"/>
                  <a:pt x="260" y="162"/>
                </a:cubicBezTo>
                <a:cubicBezTo>
                  <a:pt x="246" y="212"/>
                  <a:pt x="246" y="212"/>
                  <a:pt x="246" y="212"/>
                </a:cubicBezTo>
                <a:lnTo>
                  <a:pt x="195" y="177"/>
                </a:lnTo>
                <a:close/>
                <a:moveTo>
                  <a:pt x="199" y="152"/>
                </a:moveTo>
                <a:cubicBezTo>
                  <a:pt x="198" y="147"/>
                  <a:pt x="196" y="143"/>
                  <a:pt x="194" y="139"/>
                </a:cubicBezTo>
                <a:cubicBezTo>
                  <a:pt x="243" y="101"/>
                  <a:pt x="243" y="101"/>
                  <a:pt x="243" y="101"/>
                </a:cubicBezTo>
                <a:cubicBezTo>
                  <a:pt x="260" y="150"/>
                  <a:pt x="260" y="150"/>
                  <a:pt x="260" y="150"/>
                </a:cubicBezTo>
                <a:lnTo>
                  <a:pt x="199" y="152"/>
                </a:lnTo>
                <a:close/>
                <a:moveTo>
                  <a:pt x="187" y="130"/>
                </a:moveTo>
                <a:cubicBezTo>
                  <a:pt x="185" y="128"/>
                  <a:pt x="183" y="127"/>
                  <a:pt x="181" y="125"/>
                </a:cubicBezTo>
                <a:cubicBezTo>
                  <a:pt x="180" y="124"/>
                  <a:pt x="177" y="123"/>
                  <a:pt x="175" y="122"/>
                </a:cubicBezTo>
                <a:cubicBezTo>
                  <a:pt x="193" y="63"/>
                  <a:pt x="193" y="63"/>
                  <a:pt x="193" y="63"/>
                </a:cubicBezTo>
                <a:cubicBezTo>
                  <a:pt x="236" y="92"/>
                  <a:pt x="236" y="92"/>
                  <a:pt x="236" y="92"/>
                </a:cubicBezTo>
                <a:lnTo>
                  <a:pt x="187" y="130"/>
                </a:lnTo>
                <a:close/>
                <a:moveTo>
                  <a:pt x="164" y="118"/>
                </a:moveTo>
                <a:cubicBezTo>
                  <a:pt x="160" y="118"/>
                  <a:pt x="155" y="118"/>
                  <a:pt x="150" y="119"/>
                </a:cubicBezTo>
                <a:cubicBezTo>
                  <a:pt x="130" y="61"/>
                  <a:pt x="130" y="61"/>
                  <a:pt x="130" y="61"/>
                </a:cubicBezTo>
                <a:cubicBezTo>
                  <a:pt x="182" y="60"/>
                  <a:pt x="182" y="60"/>
                  <a:pt x="182" y="60"/>
                </a:cubicBezTo>
                <a:lnTo>
                  <a:pt x="164" y="118"/>
                </a:lnTo>
                <a:close/>
                <a:moveTo>
                  <a:pt x="139" y="123"/>
                </a:moveTo>
                <a:cubicBezTo>
                  <a:pt x="135" y="125"/>
                  <a:pt x="131" y="128"/>
                  <a:pt x="128" y="131"/>
                </a:cubicBezTo>
                <a:cubicBezTo>
                  <a:pt x="78" y="97"/>
                  <a:pt x="78" y="97"/>
                  <a:pt x="78" y="97"/>
                </a:cubicBezTo>
                <a:cubicBezTo>
                  <a:pt x="119" y="65"/>
                  <a:pt x="119" y="65"/>
                  <a:pt x="119" y="65"/>
                </a:cubicBezTo>
                <a:lnTo>
                  <a:pt x="139" y="123"/>
                </a:lnTo>
                <a:close/>
                <a:moveTo>
                  <a:pt x="122" y="141"/>
                </a:moveTo>
                <a:cubicBezTo>
                  <a:pt x="120" y="145"/>
                  <a:pt x="118" y="150"/>
                  <a:pt x="118" y="154"/>
                </a:cubicBezTo>
                <a:cubicBezTo>
                  <a:pt x="56" y="156"/>
                  <a:pt x="56" y="156"/>
                  <a:pt x="56" y="156"/>
                </a:cubicBezTo>
                <a:cubicBezTo>
                  <a:pt x="71" y="106"/>
                  <a:pt x="71" y="106"/>
                  <a:pt x="71" y="106"/>
                </a:cubicBezTo>
                <a:lnTo>
                  <a:pt x="122" y="141"/>
                </a:lnTo>
                <a:close/>
                <a:moveTo>
                  <a:pt x="34" y="168"/>
                </a:moveTo>
                <a:cubicBezTo>
                  <a:pt x="44" y="168"/>
                  <a:pt x="44" y="168"/>
                  <a:pt x="44" y="168"/>
                </a:cubicBezTo>
                <a:cubicBezTo>
                  <a:pt x="64" y="224"/>
                  <a:pt x="64" y="224"/>
                  <a:pt x="64" y="224"/>
                </a:cubicBezTo>
                <a:cubicBezTo>
                  <a:pt x="56" y="230"/>
                  <a:pt x="56" y="230"/>
                  <a:pt x="56" y="230"/>
                </a:cubicBezTo>
                <a:cubicBezTo>
                  <a:pt x="43" y="212"/>
                  <a:pt x="36" y="190"/>
                  <a:pt x="34" y="168"/>
                </a:cubicBezTo>
                <a:close/>
                <a:moveTo>
                  <a:pt x="88" y="262"/>
                </a:moveTo>
                <a:cubicBezTo>
                  <a:pt x="78" y="255"/>
                  <a:pt x="70" y="248"/>
                  <a:pt x="63" y="240"/>
                </a:cubicBezTo>
                <a:cubicBezTo>
                  <a:pt x="71" y="233"/>
                  <a:pt x="71" y="233"/>
                  <a:pt x="71" y="233"/>
                </a:cubicBezTo>
                <a:cubicBezTo>
                  <a:pt x="120" y="267"/>
                  <a:pt x="120" y="267"/>
                  <a:pt x="120" y="267"/>
                </a:cubicBezTo>
                <a:cubicBezTo>
                  <a:pt x="117" y="277"/>
                  <a:pt x="117" y="277"/>
                  <a:pt x="117" y="277"/>
                </a:cubicBezTo>
                <a:cubicBezTo>
                  <a:pt x="107" y="273"/>
                  <a:pt x="97" y="268"/>
                  <a:pt x="88" y="262"/>
                </a:cubicBezTo>
                <a:close/>
                <a:moveTo>
                  <a:pt x="129" y="280"/>
                </a:moveTo>
                <a:cubicBezTo>
                  <a:pt x="132" y="270"/>
                  <a:pt x="132" y="270"/>
                  <a:pt x="132" y="270"/>
                </a:cubicBezTo>
                <a:cubicBezTo>
                  <a:pt x="191" y="268"/>
                  <a:pt x="191" y="268"/>
                  <a:pt x="191" y="268"/>
                </a:cubicBezTo>
                <a:cubicBezTo>
                  <a:pt x="195" y="278"/>
                  <a:pt x="195" y="278"/>
                  <a:pt x="195" y="278"/>
                </a:cubicBezTo>
                <a:cubicBezTo>
                  <a:pt x="173" y="285"/>
                  <a:pt x="151" y="285"/>
                  <a:pt x="129" y="280"/>
                </a:cubicBezTo>
                <a:close/>
                <a:moveTo>
                  <a:pt x="205" y="274"/>
                </a:moveTo>
                <a:cubicBezTo>
                  <a:pt x="202" y="265"/>
                  <a:pt x="202" y="265"/>
                  <a:pt x="202" y="265"/>
                </a:cubicBezTo>
                <a:cubicBezTo>
                  <a:pt x="249" y="228"/>
                  <a:pt x="249" y="228"/>
                  <a:pt x="249" y="228"/>
                </a:cubicBezTo>
                <a:cubicBezTo>
                  <a:pt x="258" y="234"/>
                  <a:pt x="258" y="234"/>
                  <a:pt x="258" y="234"/>
                </a:cubicBezTo>
                <a:cubicBezTo>
                  <a:pt x="244" y="253"/>
                  <a:pt x="226" y="266"/>
                  <a:pt x="205" y="274"/>
                </a:cubicBezTo>
                <a:close/>
                <a:moveTo>
                  <a:pt x="264" y="225"/>
                </a:moveTo>
                <a:cubicBezTo>
                  <a:pt x="256" y="219"/>
                  <a:pt x="256" y="219"/>
                  <a:pt x="256" y="219"/>
                </a:cubicBezTo>
                <a:cubicBezTo>
                  <a:pt x="273" y="162"/>
                  <a:pt x="273" y="162"/>
                  <a:pt x="273" y="162"/>
                </a:cubicBezTo>
                <a:cubicBezTo>
                  <a:pt x="283" y="161"/>
                  <a:pt x="283" y="161"/>
                  <a:pt x="283" y="161"/>
                </a:cubicBezTo>
                <a:cubicBezTo>
                  <a:pt x="283" y="183"/>
                  <a:pt x="277" y="205"/>
                  <a:pt x="264" y="225"/>
                </a:cubicBezTo>
                <a:close/>
                <a:moveTo>
                  <a:pt x="283" y="150"/>
                </a:moveTo>
                <a:cubicBezTo>
                  <a:pt x="272" y="150"/>
                  <a:pt x="272" y="150"/>
                  <a:pt x="272" y="150"/>
                </a:cubicBezTo>
                <a:cubicBezTo>
                  <a:pt x="252" y="94"/>
                  <a:pt x="252" y="94"/>
                  <a:pt x="252" y="94"/>
                </a:cubicBezTo>
                <a:cubicBezTo>
                  <a:pt x="261" y="88"/>
                  <a:pt x="261" y="88"/>
                  <a:pt x="261" y="88"/>
                </a:cubicBezTo>
                <a:cubicBezTo>
                  <a:pt x="274" y="106"/>
                  <a:pt x="281" y="128"/>
                  <a:pt x="283" y="150"/>
                </a:cubicBezTo>
                <a:close/>
                <a:moveTo>
                  <a:pt x="229" y="56"/>
                </a:moveTo>
                <a:cubicBezTo>
                  <a:pt x="238" y="63"/>
                  <a:pt x="247" y="70"/>
                  <a:pt x="254" y="78"/>
                </a:cubicBezTo>
                <a:cubicBezTo>
                  <a:pt x="245" y="85"/>
                  <a:pt x="245" y="85"/>
                  <a:pt x="245" y="85"/>
                </a:cubicBezTo>
                <a:cubicBezTo>
                  <a:pt x="196" y="51"/>
                  <a:pt x="196" y="51"/>
                  <a:pt x="196" y="51"/>
                </a:cubicBezTo>
                <a:cubicBezTo>
                  <a:pt x="199" y="41"/>
                  <a:pt x="199" y="41"/>
                  <a:pt x="199" y="41"/>
                </a:cubicBezTo>
                <a:cubicBezTo>
                  <a:pt x="209" y="45"/>
                  <a:pt x="219" y="50"/>
                  <a:pt x="229" y="56"/>
                </a:cubicBezTo>
                <a:close/>
                <a:moveTo>
                  <a:pt x="188" y="38"/>
                </a:moveTo>
                <a:cubicBezTo>
                  <a:pt x="185" y="48"/>
                  <a:pt x="185" y="48"/>
                  <a:pt x="185" y="48"/>
                </a:cubicBezTo>
                <a:cubicBezTo>
                  <a:pt x="126" y="50"/>
                  <a:pt x="126" y="50"/>
                  <a:pt x="126" y="50"/>
                </a:cubicBezTo>
                <a:cubicBezTo>
                  <a:pt x="122" y="40"/>
                  <a:pt x="122" y="40"/>
                  <a:pt x="122" y="40"/>
                </a:cubicBezTo>
                <a:cubicBezTo>
                  <a:pt x="143" y="33"/>
                  <a:pt x="166" y="32"/>
                  <a:pt x="188" y="38"/>
                </a:cubicBezTo>
                <a:close/>
                <a:moveTo>
                  <a:pt x="111" y="43"/>
                </a:moveTo>
                <a:cubicBezTo>
                  <a:pt x="115" y="53"/>
                  <a:pt x="115" y="53"/>
                  <a:pt x="115" y="53"/>
                </a:cubicBezTo>
                <a:cubicBezTo>
                  <a:pt x="68" y="90"/>
                  <a:pt x="68" y="90"/>
                  <a:pt x="68" y="90"/>
                </a:cubicBezTo>
                <a:cubicBezTo>
                  <a:pt x="59" y="84"/>
                  <a:pt x="59" y="84"/>
                  <a:pt x="59" y="84"/>
                </a:cubicBezTo>
                <a:cubicBezTo>
                  <a:pt x="73" y="65"/>
                  <a:pt x="91" y="52"/>
                  <a:pt x="111" y="43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1798" kern="0">
              <a:solidFill>
                <a:srgbClr val="FFFFFF"/>
              </a:solidFill>
            </a:endParaRPr>
          </a:p>
        </p:txBody>
      </p:sp>
      <p:sp>
        <p:nvSpPr>
          <p:cNvPr id="10" name="Freeform 9"/>
          <p:cNvSpPr>
            <a:spLocks noEditPoints="1"/>
          </p:cNvSpPr>
          <p:nvPr userDrawn="1"/>
        </p:nvSpPr>
        <p:spPr bwMode="auto">
          <a:xfrm>
            <a:off x="9647582" y="6450125"/>
            <a:ext cx="292181" cy="291284"/>
          </a:xfrm>
          <a:custGeom>
            <a:avLst/>
            <a:gdLst>
              <a:gd name="T0" fmla="*/ 59 w 351"/>
              <a:gd name="T1" fmla="*/ 80 h 350"/>
              <a:gd name="T2" fmla="*/ 22 w 351"/>
              <a:gd name="T3" fmla="*/ 90 h 350"/>
              <a:gd name="T4" fmla="*/ 20 w 351"/>
              <a:gd name="T5" fmla="*/ 126 h 350"/>
              <a:gd name="T6" fmla="*/ 11 w 351"/>
              <a:gd name="T7" fmla="*/ 146 h 350"/>
              <a:gd name="T8" fmla="*/ 9 w 351"/>
              <a:gd name="T9" fmla="*/ 171 h 350"/>
              <a:gd name="T10" fmla="*/ 14 w 351"/>
              <a:gd name="T11" fmla="*/ 193 h 350"/>
              <a:gd name="T12" fmla="*/ 9 w 351"/>
              <a:gd name="T13" fmla="*/ 228 h 350"/>
              <a:gd name="T14" fmla="*/ 43 w 351"/>
              <a:gd name="T15" fmla="*/ 243 h 350"/>
              <a:gd name="T16" fmla="*/ 31 w 351"/>
              <a:gd name="T17" fmla="*/ 273 h 350"/>
              <a:gd name="T18" fmla="*/ 67 w 351"/>
              <a:gd name="T19" fmla="*/ 278 h 350"/>
              <a:gd name="T20" fmla="*/ 70 w 351"/>
              <a:gd name="T21" fmla="*/ 315 h 350"/>
              <a:gd name="T22" fmla="*/ 105 w 351"/>
              <a:gd name="T23" fmla="*/ 322 h 350"/>
              <a:gd name="T24" fmla="*/ 124 w 351"/>
              <a:gd name="T25" fmla="*/ 334 h 350"/>
              <a:gd name="T26" fmla="*/ 150 w 351"/>
              <a:gd name="T27" fmla="*/ 336 h 350"/>
              <a:gd name="T28" fmla="*/ 171 w 351"/>
              <a:gd name="T29" fmla="*/ 342 h 350"/>
              <a:gd name="T30" fmla="*/ 196 w 351"/>
              <a:gd name="T31" fmla="*/ 341 h 350"/>
              <a:gd name="T32" fmla="*/ 217 w 351"/>
              <a:gd name="T33" fmla="*/ 333 h 350"/>
              <a:gd name="T34" fmla="*/ 253 w 351"/>
              <a:gd name="T35" fmla="*/ 333 h 350"/>
              <a:gd name="T36" fmla="*/ 263 w 351"/>
              <a:gd name="T37" fmla="*/ 297 h 350"/>
              <a:gd name="T38" fmla="*/ 294 w 351"/>
              <a:gd name="T39" fmla="*/ 305 h 350"/>
              <a:gd name="T40" fmla="*/ 294 w 351"/>
              <a:gd name="T41" fmla="*/ 268 h 350"/>
              <a:gd name="T42" fmla="*/ 329 w 351"/>
              <a:gd name="T43" fmla="*/ 261 h 350"/>
              <a:gd name="T44" fmla="*/ 331 w 351"/>
              <a:gd name="T45" fmla="*/ 225 h 350"/>
              <a:gd name="T46" fmla="*/ 340 w 351"/>
              <a:gd name="T47" fmla="*/ 204 h 350"/>
              <a:gd name="T48" fmla="*/ 342 w 351"/>
              <a:gd name="T49" fmla="*/ 179 h 350"/>
              <a:gd name="T50" fmla="*/ 337 w 351"/>
              <a:gd name="T51" fmla="*/ 157 h 350"/>
              <a:gd name="T52" fmla="*/ 342 w 351"/>
              <a:gd name="T53" fmla="*/ 122 h 350"/>
              <a:gd name="T54" fmla="*/ 310 w 351"/>
              <a:gd name="T55" fmla="*/ 109 h 350"/>
              <a:gd name="T56" fmla="*/ 316 w 351"/>
              <a:gd name="T57" fmla="*/ 71 h 350"/>
              <a:gd name="T58" fmla="*/ 284 w 351"/>
              <a:gd name="T59" fmla="*/ 54 h 350"/>
              <a:gd name="T60" fmla="*/ 269 w 351"/>
              <a:gd name="T61" fmla="*/ 38 h 350"/>
              <a:gd name="T62" fmla="*/ 247 w 351"/>
              <a:gd name="T63" fmla="*/ 25 h 350"/>
              <a:gd name="T64" fmla="*/ 226 w 351"/>
              <a:gd name="T65" fmla="*/ 20 h 350"/>
              <a:gd name="T66" fmla="*/ 195 w 351"/>
              <a:gd name="T67" fmla="*/ 1 h 350"/>
              <a:gd name="T68" fmla="*/ 170 w 351"/>
              <a:gd name="T69" fmla="*/ 25 h 350"/>
              <a:gd name="T70" fmla="*/ 138 w 351"/>
              <a:gd name="T71" fmla="*/ 3 h 350"/>
              <a:gd name="T72" fmla="*/ 111 w 351"/>
              <a:gd name="T73" fmla="*/ 29 h 350"/>
              <a:gd name="T74" fmla="*/ 89 w 351"/>
              <a:gd name="T75" fmla="*/ 32 h 350"/>
              <a:gd name="T76" fmla="*/ 69 w 351"/>
              <a:gd name="T77" fmla="*/ 47 h 350"/>
              <a:gd name="T78" fmla="*/ 215 w 351"/>
              <a:gd name="T79" fmla="*/ 283 h 350"/>
              <a:gd name="T80" fmla="*/ 215 w 351"/>
              <a:gd name="T81" fmla="*/ 283 h 350"/>
              <a:gd name="T82" fmla="*/ 258 w 351"/>
              <a:gd name="T83" fmla="*/ 213 h 350"/>
              <a:gd name="T84" fmla="*/ 215 w 351"/>
              <a:gd name="T85" fmla="*/ 229 h 350"/>
              <a:gd name="T86" fmla="*/ 115 w 351"/>
              <a:gd name="T87" fmla="*/ 172 h 350"/>
              <a:gd name="T88" fmla="*/ 82 w 351"/>
              <a:gd name="T89" fmla="*/ 221 h 350"/>
              <a:gd name="T90" fmla="*/ 82 w 351"/>
              <a:gd name="T91" fmla="*/ 221 h 350"/>
              <a:gd name="T92" fmla="*/ 130 w 351"/>
              <a:gd name="T93" fmla="*/ 227 h 350"/>
              <a:gd name="T94" fmla="*/ 137 w 351"/>
              <a:gd name="T95" fmla="*/ 257 h 350"/>
              <a:gd name="T96" fmla="*/ 165 w 351"/>
              <a:gd name="T97" fmla="*/ 242 h 350"/>
              <a:gd name="T98" fmla="*/ 251 w 351"/>
              <a:gd name="T99" fmla="*/ 177 h 350"/>
              <a:gd name="T100" fmla="*/ 251 w 351"/>
              <a:gd name="T101" fmla="*/ 177 h 350"/>
              <a:gd name="T102" fmla="*/ 261 w 351"/>
              <a:gd name="T103" fmla="*/ 143 h 350"/>
              <a:gd name="T104" fmla="*/ 219 w 351"/>
              <a:gd name="T105" fmla="*/ 133 h 350"/>
              <a:gd name="T106" fmla="*/ 200 w 351"/>
              <a:gd name="T107" fmla="*/ 204 h 350"/>
              <a:gd name="T108" fmla="*/ 224 w 351"/>
              <a:gd name="T109" fmla="*/ 69 h 350"/>
              <a:gd name="T110" fmla="*/ 224 w 351"/>
              <a:gd name="T111" fmla="*/ 69 h 350"/>
              <a:gd name="T112" fmla="*/ 169 w 351"/>
              <a:gd name="T113" fmla="*/ 106 h 350"/>
              <a:gd name="T114" fmla="*/ 123 w 351"/>
              <a:gd name="T115" fmla="*/ 130 h 350"/>
              <a:gd name="T116" fmla="*/ 70 w 351"/>
              <a:gd name="T117" fmla="*/ 125 h 350"/>
              <a:gd name="T118" fmla="*/ 135 w 351"/>
              <a:gd name="T119" fmla="*/ 65 h 350"/>
              <a:gd name="T120" fmla="*/ 135 w 351"/>
              <a:gd name="T121" fmla="*/ 65 h 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51" h="350">
                <a:moveTo>
                  <a:pt x="52" y="50"/>
                </a:moveTo>
                <a:cubicBezTo>
                  <a:pt x="48" y="53"/>
                  <a:pt x="49" y="59"/>
                  <a:pt x="52" y="62"/>
                </a:cubicBezTo>
                <a:cubicBezTo>
                  <a:pt x="55" y="64"/>
                  <a:pt x="55" y="64"/>
                  <a:pt x="55" y="64"/>
                </a:cubicBezTo>
                <a:cubicBezTo>
                  <a:pt x="60" y="68"/>
                  <a:pt x="62" y="75"/>
                  <a:pt x="59" y="80"/>
                </a:cubicBezTo>
                <a:cubicBezTo>
                  <a:pt x="55" y="87"/>
                  <a:pt x="46" y="89"/>
                  <a:pt x="40" y="84"/>
                </a:cubicBezTo>
                <a:cubicBezTo>
                  <a:pt x="37" y="82"/>
                  <a:pt x="37" y="82"/>
                  <a:pt x="37" y="82"/>
                </a:cubicBezTo>
                <a:cubicBezTo>
                  <a:pt x="33" y="79"/>
                  <a:pt x="28" y="79"/>
                  <a:pt x="25" y="84"/>
                </a:cubicBezTo>
                <a:cubicBezTo>
                  <a:pt x="24" y="86"/>
                  <a:pt x="23" y="88"/>
                  <a:pt x="22" y="90"/>
                </a:cubicBezTo>
                <a:cubicBezTo>
                  <a:pt x="19" y="94"/>
                  <a:pt x="21" y="99"/>
                  <a:pt x="26" y="101"/>
                </a:cubicBezTo>
                <a:cubicBezTo>
                  <a:pt x="29" y="102"/>
                  <a:pt x="29" y="102"/>
                  <a:pt x="29" y="102"/>
                </a:cubicBezTo>
                <a:cubicBezTo>
                  <a:pt x="35" y="105"/>
                  <a:pt x="38" y="111"/>
                  <a:pt x="37" y="117"/>
                </a:cubicBezTo>
                <a:cubicBezTo>
                  <a:pt x="35" y="125"/>
                  <a:pt x="27" y="129"/>
                  <a:pt x="20" y="126"/>
                </a:cubicBezTo>
                <a:cubicBezTo>
                  <a:pt x="17" y="124"/>
                  <a:pt x="17" y="124"/>
                  <a:pt x="17" y="124"/>
                </a:cubicBezTo>
                <a:cubicBezTo>
                  <a:pt x="12" y="122"/>
                  <a:pt x="7" y="125"/>
                  <a:pt x="6" y="129"/>
                </a:cubicBezTo>
                <a:cubicBezTo>
                  <a:pt x="5" y="132"/>
                  <a:pt x="5" y="134"/>
                  <a:pt x="4" y="136"/>
                </a:cubicBezTo>
                <a:cubicBezTo>
                  <a:pt x="3" y="141"/>
                  <a:pt x="6" y="145"/>
                  <a:pt x="11" y="146"/>
                </a:cubicBezTo>
                <a:cubicBezTo>
                  <a:pt x="15" y="146"/>
                  <a:pt x="15" y="146"/>
                  <a:pt x="15" y="146"/>
                </a:cubicBezTo>
                <a:cubicBezTo>
                  <a:pt x="22" y="147"/>
                  <a:pt x="27" y="154"/>
                  <a:pt x="26" y="160"/>
                </a:cubicBezTo>
                <a:cubicBezTo>
                  <a:pt x="31" y="165"/>
                  <a:pt x="27" y="173"/>
                  <a:pt x="20" y="172"/>
                </a:cubicBezTo>
                <a:cubicBezTo>
                  <a:pt x="9" y="171"/>
                  <a:pt x="9" y="171"/>
                  <a:pt x="9" y="171"/>
                </a:cubicBezTo>
                <a:cubicBezTo>
                  <a:pt x="4" y="170"/>
                  <a:pt x="0" y="174"/>
                  <a:pt x="0" y="179"/>
                </a:cubicBezTo>
                <a:cubicBezTo>
                  <a:pt x="0" y="181"/>
                  <a:pt x="0" y="184"/>
                  <a:pt x="1" y="186"/>
                </a:cubicBezTo>
                <a:cubicBezTo>
                  <a:pt x="1" y="191"/>
                  <a:pt x="5" y="194"/>
                  <a:pt x="10" y="193"/>
                </a:cubicBezTo>
                <a:cubicBezTo>
                  <a:pt x="14" y="193"/>
                  <a:pt x="14" y="193"/>
                  <a:pt x="14" y="193"/>
                </a:cubicBezTo>
                <a:cubicBezTo>
                  <a:pt x="21" y="192"/>
                  <a:pt x="27" y="196"/>
                  <a:pt x="29" y="203"/>
                </a:cubicBezTo>
                <a:cubicBezTo>
                  <a:pt x="30" y="210"/>
                  <a:pt x="25" y="216"/>
                  <a:pt x="18" y="218"/>
                </a:cubicBezTo>
                <a:cubicBezTo>
                  <a:pt x="15" y="218"/>
                  <a:pt x="15" y="218"/>
                  <a:pt x="15" y="218"/>
                </a:cubicBezTo>
                <a:cubicBezTo>
                  <a:pt x="10" y="219"/>
                  <a:pt x="7" y="224"/>
                  <a:pt x="9" y="228"/>
                </a:cubicBezTo>
                <a:cubicBezTo>
                  <a:pt x="9" y="231"/>
                  <a:pt x="10" y="233"/>
                  <a:pt x="11" y="235"/>
                </a:cubicBezTo>
                <a:cubicBezTo>
                  <a:pt x="13" y="239"/>
                  <a:pt x="18" y="241"/>
                  <a:pt x="22" y="239"/>
                </a:cubicBezTo>
                <a:cubicBezTo>
                  <a:pt x="26" y="238"/>
                  <a:pt x="26" y="238"/>
                  <a:pt x="26" y="238"/>
                </a:cubicBezTo>
                <a:cubicBezTo>
                  <a:pt x="32" y="235"/>
                  <a:pt x="40" y="237"/>
                  <a:pt x="43" y="243"/>
                </a:cubicBezTo>
                <a:cubicBezTo>
                  <a:pt x="43" y="243"/>
                  <a:pt x="43" y="243"/>
                  <a:pt x="43" y="243"/>
                </a:cubicBezTo>
                <a:cubicBezTo>
                  <a:pt x="46" y="250"/>
                  <a:pt x="43" y="257"/>
                  <a:pt x="37" y="260"/>
                </a:cubicBezTo>
                <a:cubicBezTo>
                  <a:pt x="34" y="262"/>
                  <a:pt x="34" y="262"/>
                  <a:pt x="34" y="262"/>
                </a:cubicBezTo>
                <a:cubicBezTo>
                  <a:pt x="29" y="264"/>
                  <a:pt x="28" y="269"/>
                  <a:pt x="31" y="273"/>
                </a:cubicBezTo>
                <a:cubicBezTo>
                  <a:pt x="32" y="275"/>
                  <a:pt x="33" y="277"/>
                  <a:pt x="35" y="279"/>
                </a:cubicBezTo>
                <a:cubicBezTo>
                  <a:pt x="38" y="283"/>
                  <a:pt x="43" y="283"/>
                  <a:pt x="47" y="280"/>
                </a:cubicBezTo>
                <a:cubicBezTo>
                  <a:pt x="50" y="277"/>
                  <a:pt x="50" y="277"/>
                  <a:pt x="50" y="277"/>
                </a:cubicBezTo>
                <a:cubicBezTo>
                  <a:pt x="55" y="273"/>
                  <a:pt x="63" y="273"/>
                  <a:pt x="67" y="278"/>
                </a:cubicBezTo>
                <a:cubicBezTo>
                  <a:pt x="72" y="283"/>
                  <a:pt x="72" y="291"/>
                  <a:pt x="67" y="296"/>
                </a:cubicBezTo>
                <a:cubicBezTo>
                  <a:pt x="64" y="298"/>
                  <a:pt x="64" y="298"/>
                  <a:pt x="64" y="298"/>
                </a:cubicBezTo>
                <a:cubicBezTo>
                  <a:pt x="61" y="302"/>
                  <a:pt x="61" y="307"/>
                  <a:pt x="65" y="310"/>
                </a:cubicBezTo>
                <a:cubicBezTo>
                  <a:pt x="66" y="312"/>
                  <a:pt x="68" y="313"/>
                  <a:pt x="70" y="315"/>
                </a:cubicBezTo>
                <a:cubicBezTo>
                  <a:pt x="74" y="318"/>
                  <a:pt x="79" y="316"/>
                  <a:pt x="82" y="312"/>
                </a:cubicBezTo>
                <a:cubicBezTo>
                  <a:pt x="84" y="309"/>
                  <a:pt x="84" y="309"/>
                  <a:pt x="84" y="309"/>
                </a:cubicBezTo>
                <a:cubicBezTo>
                  <a:pt x="87" y="304"/>
                  <a:pt x="93" y="301"/>
                  <a:pt x="99" y="304"/>
                </a:cubicBezTo>
                <a:cubicBezTo>
                  <a:pt x="107" y="307"/>
                  <a:pt x="109" y="315"/>
                  <a:pt x="105" y="322"/>
                </a:cubicBezTo>
                <a:cubicBezTo>
                  <a:pt x="104" y="325"/>
                  <a:pt x="104" y="325"/>
                  <a:pt x="104" y="325"/>
                </a:cubicBezTo>
                <a:cubicBezTo>
                  <a:pt x="101" y="329"/>
                  <a:pt x="103" y="334"/>
                  <a:pt x="107" y="336"/>
                </a:cubicBezTo>
                <a:cubicBezTo>
                  <a:pt x="109" y="337"/>
                  <a:pt x="112" y="338"/>
                  <a:pt x="114" y="339"/>
                </a:cubicBezTo>
                <a:cubicBezTo>
                  <a:pt x="118" y="341"/>
                  <a:pt x="123" y="338"/>
                  <a:pt x="124" y="334"/>
                </a:cubicBezTo>
                <a:cubicBezTo>
                  <a:pt x="125" y="330"/>
                  <a:pt x="125" y="330"/>
                  <a:pt x="125" y="330"/>
                </a:cubicBezTo>
                <a:cubicBezTo>
                  <a:pt x="127" y="323"/>
                  <a:pt x="134" y="319"/>
                  <a:pt x="141" y="321"/>
                </a:cubicBezTo>
                <a:cubicBezTo>
                  <a:pt x="141" y="321"/>
                  <a:pt x="141" y="321"/>
                  <a:pt x="141" y="321"/>
                </a:cubicBezTo>
                <a:cubicBezTo>
                  <a:pt x="147" y="322"/>
                  <a:pt x="151" y="329"/>
                  <a:pt x="150" y="336"/>
                </a:cubicBezTo>
                <a:cubicBezTo>
                  <a:pt x="149" y="339"/>
                  <a:pt x="149" y="339"/>
                  <a:pt x="149" y="339"/>
                </a:cubicBezTo>
                <a:cubicBezTo>
                  <a:pt x="148" y="344"/>
                  <a:pt x="151" y="349"/>
                  <a:pt x="156" y="349"/>
                </a:cubicBezTo>
                <a:cubicBezTo>
                  <a:pt x="158" y="350"/>
                  <a:pt x="160" y="350"/>
                  <a:pt x="163" y="350"/>
                </a:cubicBezTo>
                <a:cubicBezTo>
                  <a:pt x="167" y="350"/>
                  <a:pt x="171" y="347"/>
                  <a:pt x="171" y="342"/>
                </a:cubicBezTo>
                <a:cubicBezTo>
                  <a:pt x="171" y="338"/>
                  <a:pt x="171" y="338"/>
                  <a:pt x="171" y="338"/>
                </a:cubicBezTo>
                <a:cubicBezTo>
                  <a:pt x="171" y="331"/>
                  <a:pt x="176" y="325"/>
                  <a:pt x="183" y="325"/>
                </a:cubicBezTo>
                <a:cubicBezTo>
                  <a:pt x="190" y="325"/>
                  <a:pt x="196" y="330"/>
                  <a:pt x="196" y="337"/>
                </a:cubicBezTo>
                <a:cubicBezTo>
                  <a:pt x="196" y="341"/>
                  <a:pt x="196" y="341"/>
                  <a:pt x="196" y="341"/>
                </a:cubicBezTo>
                <a:cubicBezTo>
                  <a:pt x="196" y="345"/>
                  <a:pt x="201" y="349"/>
                  <a:pt x="205" y="348"/>
                </a:cubicBezTo>
                <a:cubicBezTo>
                  <a:pt x="208" y="348"/>
                  <a:pt x="210" y="347"/>
                  <a:pt x="212" y="347"/>
                </a:cubicBezTo>
                <a:cubicBezTo>
                  <a:pt x="217" y="346"/>
                  <a:pt x="220" y="341"/>
                  <a:pt x="218" y="337"/>
                </a:cubicBezTo>
                <a:cubicBezTo>
                  <a:pt x="217" y="333"/>
                  <a:pt x="217" y="333"/>
                  <a:pt x="217" y="333"/>
                </a:cubicBezTo>
                <a:cubicBezTo>
                  <a:pt x="215" y="326"/>
                  <a:pt x="218" y="319"/>
                  <a:pt x="225" y="317"/>
                </a:cubicBezTo>
                <a:cubicBezTo>
                  <a:pt x="232" y="315"/>
                  <a:pt x="239" y="318"/>
                  <a:pt x="241" y="325"/>
                </a:cubicBezTo>
                <a:cubicBezTo>
                  <a:pt x="242" y="328"/>
                  <a:pt x="242" y="328"/>
                  <a:pt x="242" y="328"/>
                </a:cubicBezTo>
                <a:cubicBezTo>
                  <a:pt x="243" y="333"/>
                  <a:pt x="249" y="335"/>
                  <a:pt x="253" y="333"/>
                </a:cubicBezTo>
                <a:cubicBezTo>
                  <a:pt x="255" y="332"/>
                  <a:pt x="257" y="331"/>
                  <a:pt x="259" y="330"/>
                </a:cubicBezTo>
                <a:cubicBezTo>
                  <a:pt x="263" y="328"/>
                  <a:pt x="265" y="322"/>
                  <a:pt x="262" y="318"/>
                </a:cubicBezTo>
                <a:cubicBezTo>
                  <a:pt x="260" y="315"/>
                  <a:pt x="260" y="315"/>
                  <a:pt x="260" y="315"/>
                </a:cubicBezTo>
                <a:cubicBezTo>
                  <a:pt x="256" y="309"/>
                  <a:pt x="257" y="301"/>
                  <a:pt x="263" y="297"/>
                </a:cubicBezTo>
                <a:cubicBezTo>
                  <a:pt x="269" y="294"/>
                  <a:pt x="276" y="295"/>
                  <a:pt x="280" y="301"/>
                </a:cubicBezTo>
                <a:cubicBezTo>
                  <a:pt x="282" y="304"/>
                  <a:pt x="282" y="304"/>
                  <a:pt x="282" y="304"/>
                </a:cubicBezTo>
                <a:cubicBezTo>
                  <a:pt x="285" y="308"/>
                  <a:pt x="291" y="308"/>
                  <a:pt x="294" y="305"/>
                </a:cubicBezTo>
                <a:cubicBezTo>
                  <a:pt x="294" y="305"/>
                  <a:pt x="294" y="305"/>
                  <a:pt x="294" y="305"/>
                </a:cubicBezTo>
                <a:cubicBezTo>
                  <a:pt x="296" y="304"/>
                  <a:pt x="298" y="302"/>
                  <a:pt x="299" y="300"/>
                </a:cubicBezTo>
                <a:cubicBezTo>
                  <a:pt x="303" y="297"/>
                  <a:pt x="302" y="292"/>
                  <a:pt x="299" y="289"/>
                </a:cubicBezTo>
                <a:cubicBezTo>
                  <a:pt x="295" y="286"/>
                  <a:pt x="295" y="286"/>
                  <a:pt x="295" y="286"/>
                </a:cubicBezTo>
                <a:cubicBezTo>
                  <a:pt x="290" y="281"/>
                  <a:pt x="289" y="273"/>
                  <a:pt x="294" y="268"/>
                </a:cubicBezTo>
                <a:cubicBezTo>
                  <a:pt x="298" y="263"/>
                  <a:pt x="306" y="262"/>
                  <a:pt x="311" y="266"/>
                </a:cubicBezTo>
                <a:cubicBezTo>
                  <a:pt x="314" y="269"/>
                  <a:pt x="314" y="269"/>
                  <a:pt x="314" y="269"/>
                </a:cubicBezTo>
                <a:cubicBezTo>
                  <a:pt x="318" y="272"/>
                  <a:pt x="323" y="271"/>
                  <a:pt x="326" y="267"/>
                </a:cubicBezTo>
                <a:cubicBezTo>
                  <a:pt x="327" y="265"/>
                  <a:pt x="328" y="263"/>
                  <a:pt x="329" y="261"/>
                </a:cubicBezTo>
                <a:cubicBezTo>
                  <a:pt x="331" y="256"/>
                  <a:pt x="330" y="251"/>
                  <a:pt x="325" y="249"/>
                </a:cubicBezTo>
                <a:cubicBezTo>
                  <a:pt x="321" y="248"/>
                  <a:pt x="321" y="248"/>
                  <a:pt x="321" y="248"/>
                </a:cubicBezTo>
                <a:cubicBezTo>
                  <a:pt x="315" y="245"/>
                  <a:pt x="312" y="238"/>
                  <a:pt x="315" y="231"/>
                </a:cubicBezTo>
                <a:cubicBezTo>
                  <a:pt x="317" y="225"/>
                  <a:pt x="325" y="222"/>
                  <a:pt x="331" y="225"/>
                </a:cubicBezTo>
                <a:cubicBezTo>
                  <a:pt x="334" y="226"/>
                  <a:pt x="334" y="226"/>
                  <a:pt x="334" y="226"/>
                </a:cubicBezTo>
                <a:cubicBezTo>
                  <a:pt x="339" y="228"/>
                  <a:pt x="344" y="225"/>
                  <a:pt x="345" y="221"/>
                </a:cubicBezTo>
                <a:cubicBezTo>
                  <a:pt x="346" y="218"/>
                  <a:pt x="346" y="216"/>
                  <a:pt x="347" y="214"/>
                </a:cubicBezTo>
                <a:cubicBezTo>
                  <a:pt x="348" y="209"/>
                  <a:pt x="345" y="205"/>
                  <a:pt x="340" y="204"/>
                </a:cubicBezTo>
                <a:cubicBezTo>
                  <a:pt x="336" y="204"/>
                  <a:pt x="336" y="204"/>
                  <a:pt x="336" y="204"/>
                </a:cubicBezTo>
                <a:cubicBezTo>
                  <a:pt x="329" y="203"/>
                  <a:pt x="324" y="197"/>
                  <a:pt x="325" y="190"/>
                </a:cubicBezTo>
                <a:cubicBezTo>
                  <a:pt x="320" y="185"/>
                  <a:pt x="324" y="177"/>
                  <a:pt x="331" y="178"/>
                </a:cubicBezTo>
                <a:cubicBezTo>
                  <a:pt x="342" y="179"/>
                  <a:pt x="342" y="179"/>
                  <a:pt x="342" y="179"/>
                </a:cubicBezTo>
                <a:cubicBezTo>
                  <a:pt x="347" y="180"/>
                  <a:pt x="351" y="176"/>
                  <a:pt x="351" y="171"/>
                </a:cubicBezTo>
                <a:cubicBezTo>
                  <a:pt x="351" y="169"/>
                  <a:pt x="351" y="166"/>
                  <a:pt x="350" y="164"/>
                </a:cubicBezTo>
                <a:cubicBezTo>
                  <a:pt x="350" y="159"/>
                  <a:pt x="346" y="156"/>
                  <a:pt x="341" y="157"/>
                </a:cubicBezTo>
                <a:cubicBezTo>
                  <a:pt x="337" y="157"/>
                  <a:pt x="337" y="157"/>
                  <a:pt x="337" y="157"/>
                </a:cubicBezTo>
                <a:cubicBezTo>
                  <a:pt x="331" y="158"/>
                  <a:pt x="325" y="155"/>
                  <a:pt x="323" y="149"/>
                </a:cubicBezTo>
                <a:cubicBezTo>
                  <a:pt x="320" y="142"/>
                  <a:pt x="325" y="134"/>
                  <a:pt x="333" y="133"/>
                </a:cubicBezTo>
                <a:cubicBezTo>
                  <a:pt x="336" y="132"/>
                  <a:pt x="336" y="132"/>
                  <a:pt x="336" y="132"/>
                </a:cubicBezTo>
                <a:cubicBezTo>
                  <a:pt x="341" y="131"/>
                  <a:pt x="344" y="127"/>
                  <a:pt x="342" y="122"/>
                </a:cubicBezTo>
                <a:cubicBezTo>
                  <a:pt x="341" y="120"/>
                  <a:pt x="341" y="117"/>
                  <a:pt x="340" y="115"/>
                </a:cubicBezTo>
                <a:cubicBezTo>
                  <a:pt x="338" y="111"/>
                  <a:pt x="333" y="109"/>
                  <a:pt x="329" y="111"/>
                </a:cubicBezTo>
                <a:cubicBezTo>
                  <a:pt x="325" y="113"/>
                  <a:pt x="325" y="113"/>
                  <a:pt x="325" y="113"/>
                </a:cubicBezTo>
                <a:cubicBezTo>
                  <a:pt x="320" y="115"/>
                  <a:pt x="313" y="114"/>
                  <a:pt x="310" y="109"/>
                </a:cubicBezTo>
                <a:cubicBezTo>
                  <a:pt x="305" y="102"/>
                  <a:pt x="307" y="93"/>
                  <a:pt x="314" y="90"/>
                </a:cubicBezTo>
                <a:cubicBezTo>
                  <a:pt x="317" y="88"/>
                  <a:pt x="317" y="88"/>
                  <a:pt x="317" y="88"/>
                </a:cubicBezTo>
                <a:cubicBezTo>
                  <a:pt x="321" y="86"/>
                  <a:pt x="323" y="81"/>
                  <a:pt x="320" y="77"/>
                </a:cubicBezTo>
                <a:cubicBezTo>
                  <a:pt x="319" y="75"/>
                  <a:pt x="317" y="73"/>
                  <a:pt x="316" y="71"/>
                </a:cubicBezTo>
                <a:cubicBezTo>
                  <a:pt x="313" y="67"/>
                  <a:pt x="308" y="67"/>
                  <a:pt x="304" y="70"/>
                </a:cubicBezTo>
                <a:cubicBezTo>
                  <a:pt x="301" y="73"/>
                  <a:pt x="301" y="73"/>
                  <a:pt x="301" y="73"/>
                </a:cubicBezTo>
                <a:cubicBezTo>
                  <a:pt x="296" y="78"/>
                  <a:pt x="288" y="77"/>
                  <a:pt x="283" y="72"/>
                </a:cubicBezTo>
                <a:cubicBezTo>
                  <a:pt x="279" y="67"/>
                  <a:pt x="279" y="59"/>
                  <a:pt x="284" y="54"/>
                </a:cubicBezTo>
                <a:cubicBezTo>
                  <a:pt x="287" y="52"/>
                  <a:pt x="287" y="52"/>
                  <a:pt x="287" y="52"/>
                </a:cubicBezTo>
                <a:cubicBezTo>
                  <a:pt x="290" y="49"/>
                  <a:pt x="290" y="43"/>
                  <a:pt x="286" y="40"/>
                </a:cubicBezTo>
                <a:cubicBezTo>
                  <a:pt x="285" y="38"/>
                  <a:pt x="283" y="37"/>
                  <a:pt x="281" y="36"/>
                </a:cubicBezTo>
                <a:cubicBezTo>
                  <a:pt x="277" y="33"/>
                  <a:pt x="272" y="34"/>
                  <a:pt x="269" y="38"/>
                </a:cubicBezTo>
                <a:cubicBezTo>
                  <a:pt x="267" y="41"/>
                  <a:pt x="267" y="41"/>
                  <a:pt x="267" y="41"/>
                </a:cubicBezTo>
                <a:cubicBezTo>
                  <a:pt x="264" y="46"/>
                  <a:pt x="258" y="49"/>
                  <a:pt x="252" y="47"/>
                </a:cubicBezTo>
                <a:cubicBezTo>
                  <a:pt x="244" y="44"/>
                  <a:pt x="242" y="35"/>
                  <a:pt x="246" y="28"/>
                </a:cubicBezTo>
                <a:cubicBezTo>
                  <a:pt x="247" y="25"/>
                  <a:pt x="247" y="25"/>
                  <a:pt x="247" y="25"/>
                </a:cubicBezTo>
                <a:cubicBezTo>
                  <a:pt x="250" y="21"/>
                  <a:pt x="248" y="16"/>
                  <a:pt x="244" y="14"/>
                </a:cubicBezTo>
                <a:cubicBezTo>
                  <a:pt x="241" y="13"/>
                  <a:pt x="239" y="12"/>
                  <a:pt x="237" y="11"/>
                </a:cubicBezTo>
                <a:cubicBezTo>
                  <a:pt x="233" y="10"/>
                  <a:pt x="228" y="12"/>
                  <a:pt x="227" y="17"/>
                </a:cubicBezTo>
                <a:cubicBezTo>
                  <a:pt x="226" y="20"/>
                  <a:pt x="226" y="20"/>
                  <a:pt x="226" y="20"/>
                </a:cubicBezTo>
                <a:cubicBezTo>
                  <a:pt x="224" y="26"/>
                  <a:pt x="218" y="31"/>
                  <a:pt x="212" y="30"/>
                </a:cubicBezTo>
                <a:cubicBezTo>
                  <a:pt x="204" y="29"/>
                  <a:pt x="199" y="22"/>
                  <a:pt x="201" y="14"/>
                </a:cubicBezTo>
                <a:cubicBezTo>
                  <a:pt x="202" y="11"/>
                  <a:pt x="202" y="11"/>
                  <a:pt x="202" y="11"/>
                </a:cubicBezTo>
                <a:cubicBezTo>
                  <a:pt x="203" y="6"/>
                  <a:pt x="200" y="1"/>
                  <a:pt x="195" y="1"/>
                </a:cubicBezTo>
                <a:cubicBezTo>
                  <a:pt x="193" y="1"/>
                  <a:pt x="191" y="0"/>
                  <a:pt x="188" y="0"/>
                </a:cubicBezTo>
                <a:cubicBezTo>
                  <a:pt x="184" y="0"/>
                  <a:pt x="180" y="4"/>
                  <a:pt x="180" y="8"/>
                </a:cubicBezTo>
                <a:cubicBezTo>
                  <a:pt x="180" y="12"/>
                  <a:pt x="180" y="12"/>
                  <a:pt x="180" y="12"/>
                </a:cubicBezTo>
                <a:cubicBezTo>
                  <a:pt x="180" y="18"/>
                  <a:pt x="176" y="24"/>
                  <a:pt x="170" y="25"/>
                </a:cubicBezTo>
                <a:cubicBezTo>
                  <a:pt x="162" y="27"/>
                  <a:pt x="155" y="21"/>
                  <a:pt x="155" y="13"/>
                </a:cubicBezTo>
                <a:cubicBezTo>
                  <a:pt x="155" y="10"/>
                  <a:pt x="155" y="10"/>
                  <a:pt x="155" y="10"/>
                </a:cubicBezTo>
                <a:cubicBezTo>
                  <a:pt x="155" y="5"/>
                  <a:pt x="150" y="1"/>
                  <a:pt x="145" y="2"/>
                </a:cubicBezTo>
                <a:cubicBezTo>
                  <a:pt x="143" y="2"/>
                  <a:pt x="141" y="3"/>
                  <a:pt x="138" y="3"/>
                </a:cubicBezTo>
                <a:cubicBezTo>
                  <a:pt x="134" y="4"/>
                  <a:pt x="131" y="9"/>
                  <a:pt x="133" y="13"/>
                </a:cubicBezTo>
                <a:cubicBezTo>
                  <a:pt x="134" y="18"/>
                  <a:pt x="134" y="18"/>
                  <a:pt x="134" y="18"/>
                </a:cubicBezTo>
                <a:cubicBezTo>
                  <a:pt x="136" y="24"/>
                  <a:pt x="132" y="31"/>
                  <a:pt x="126" y="33"/>
                </a:cubicBezTo>
                <a:cubicBezTo>
                  <a:pt x="121" y="38"/>
                  <a:pt x="113" y="36"/>
                  <a:pt x="111" y="29"/>
                </a:cubicBezTo>
                <a:cubicBezTo>
                  <a:pt x="109" y="22"/>
                  <a:pt x="109" y="22"/>
                  <a:pt x="109" y="22"/>
                </a:cubicBezTo>
                <a:cubicBezTo>
                  <a:pt x="107" y="17"/>
                  <a:pt x="102" y="15"/>
                  <a:pt x="98" y="17"/>
                </a:cubicBezTo>
                <a:cubicBezTo>
                  <a:pt x="96" y="18"/>
                  <a:pt x="94" y="19"/>
                  <a:pt x="92" y="20"/>
                </a:cubicBezTo>
                <a:cubicBezTo>
                  <a:pt x="88" y="23"/>
                  <a:pt x="86" y="28"/>
                  <a:pt x="89" y="32"/>
                </a:cubicBezTo>
                <a:cubicBezTo>
                  <a:pt x="91" y="35"/>
                  <a:pt x="91" y="35"/>
                  <a:pt x="91" y="35"/>
                </a:cubicBezTo>
                <a:cubicBezTo>
                  <a:pt x="96" y="42"/>
                  <a:pt x="93" y="51"/>
                  <a:pt x="86" y="54"/>
                </a:cubicBezTo>
                <a:cubicBezTo>
                  <a:pt x="81" y="56"/>
                  <a:pt x="74" y="54"/>
                  <a:pt x="70" y="49"/>
                </a:cubicBezTo>
                <a:cubicBezTo>
                  <a:pt x="69" y="47"/>
                  <a:pt x="69" y="47"/>
                  <a:pt x="69" y="47"/>
                </a:cubicBezTo>
                <a:cubicBezTo>
                  <a:pt x="66" y="43"/>
                  <a:pt x="60" y="42"/>
                  <a:pt x="57" y="45"/>
                </a:cubicBezTo>
                <a:cubicBezTo>
                  <a:pt x="57" y="45"/>
                  <a:pt x="57" y="45"/>
                  <a:pt x="57" y="45"/>
                </a:cubicBezTo>
                <a:cubicBezTo>
                  <a:pt x="55" y="47"/>
                  <a:pt x="53" y="48"/>
                  <a:pt x="52" y="50"/>
                </a:cubicBezTo>
                <a:close/>
                <a:moveTo>
                  <a:pt x="215" y="283"/>
                </a:moveTo>
                <a:cubicBezTo>
                  <a:pt x="208" y="285"/>
                  <a:pt x="201" y="282"/>
                  <a:pt x="199" y="275"/>
                </a:cubicBezTo>
                <a:cubicBezTo>
                  <a:pt x="197" y="269"/>
                  <a:pt x="200" y="262"/>
                  <a:pt x="207" y="260"/>
                </a:cubicBezTo>
                <a:cubicBezTo>
                  <a:pt x="213" y="258"/>
                  <a:pt x="220" y="261"/>
                  <a:pt x="222" y="267"/>
                </a:cubicBezTo>
                <a:cubicBezTo>
                  <a:pt x="224" y="274"/>
                  <a:pt x="221" y="281"/>
                  <a:pt x="215" y="283"/>
                </a:cubicBezTo>
                <a:close/>
                <a:moveTo>
                  <a:pt x="274" y="207"/>
                </a:moveTo>
                <a:cubicBezTo>
                  <a:pt x="280" y="210"/>
                  <a:pt x="283" y="217"/>
                  <a:pt x="280" y="223"/>
                </a:cubicBezTo>
                <a:cubicBezTo>
                  <a:pt x="277" y="229"/>
                  <a:pt x="270" y="232"/>
                  <a:pt x="264" y="229"/>
                </a:cubicBezTo>
                <a:cubicBezTo>
                  <a:pt x="258" y="226"/>
                  <a:pt x="255" y="219"/>
                  <a:pt x="258" y="213"/>
                </a:cubicBezTo>
                <a:cubicBezTo>
                  <a:pt x="261" y="206"/>
                  <a:pt x="268" y="204"/>
                  <a:pt x="274" y="207"/>
                </a:cubicBezTo>
                <a:close/>
                <a:moveTo>
                  <a:pt x="227" y="219"/>
                </a:moveTo>
                <a:cubicBezTo>
                  <a:pt x="230" y="222"/>
                  <a:pt x="230" y="227"/>
                  <a:pt x="227" y="230"/>
                </a:cubicBezTo>
                <a:cubicBezTo>
                  <a:pt x="224" y="233"/>
                  <a:pt x="218" y="233"/>
                  <a:pt x="215" y="229"/>
                </a:cubicBezTo>
                <a:cubicBezTo>
                  <a:pt x="213" y="226"/>
                  <a:pt x="213" y="221"/>
                  <a:pt x="216" y="218"/>
                </a:cubicBezTo>
                <a:cubicBezTo>
                  <a:pt x="219" y="215"/>
                  <a:pt x="224" y="215"/>
                  <a:pt x="227" y="219"/>
                </a:cubicBezTo>
                <a:close/>
                <a:moveTo>
                  <a:pt x="107" y="164"/>
                </a:moveTo>
                <a:cubicBezTo>
                  <a:pt x="111" y="164"/>
                  <a:pt x="115" y="168"/>
                  <a:pt x="115" y="172"/>
                </a:cubicBezTo>
                <a:cubicBezTo>
                  <a:pt x="114" y="176"/>
                  <a:pt x="111" y="180"/>
                  <a:pt x="106" y="180"/>
                </a:cubicBezTo>
                <a:cubicBezTo>
                  <a:pt x="102" y="179"/>
                  <a:pt x="99" y="176"/>
                  <a:pt x="99" y="171"/>
                </a:cubicBezTo>
                <a:cubicBezTo>
                  <a:pt x="99" y="167"/>
                  <a:pt x="103" y="164"/>
                  <a:pt x="107" y="164"/>
                </a:cubicBezTo>
                <a:close/>
                <a:moveTo>
                  <a:pt x="82" y="221"/>
                </a:moveTo>
                <a:cubicBezTo>
                  <a:pt x="75" y="223"/>
                  <a:pt x="68" y="220"/>
                  <a:pt x="66" y="214"/>
                </a:cubicBezTo>
                <a:cubicBezTo>
                  <a:pt x="64" y="208"/>
                  <a:pt x="67" y="201"/>
                  <a:pt x="74" y="198"/>
                </a:cubicBezTo>
                <a:cubicBezTo>
                  <a:pt x="80" y="196"/>
                  <a:pt x="87" y="199"/>
                  <a:pt x="89" y="206"/>
                </a:cubicBezTo>
                <a:cubicBezTo>
                  <a:pt x="91" y="212"/>
                  <a:pt x="88" y="219"/>
                  <a:pt x="82" y="221"/>
                </a:cubicBezTo>
                <a:close/>
                <a:moveTo>
                  <a:pt x="119" y="226"/>
                </a:moveTo>
                <a:cubicBezTo>
                  <a:pt x="116" y="223"/>
                  <a:pt x="116" y="218"/>
                  <a:pt x="120" y="215"/>
                </a:cubicBezTo>
                <a:cubicBezTo>
                  <a:pt x="123" y="212"/>
                  <a:pt x="128" y="212"/>
                  <a:pt x="131" y="215"/>
                </a:cubicBezTo>
                <a:cubicBezTo>
                  <a:pt x="134" y="219"/>
                  <a:pt x="134" y="224"/>
                  <a:pt x="130" y="227"/>
                </a:cubicBezTo>
                <a:cubicBezTo>
                  <a:pt x="127" y="229"/>
                  <a:pt x="122" y="229"/>
                  <a:pt x="119" y="226"/>
                </a:cubicBezTo>
                <a:close/>
                <a:moveTo>
                  <a:pt x="126" y="279"/>
                </a:moveTo>
                <a:cubicBezTo>
                  <a:pt x="120" y="276"/>
                  <a:pt x="118" y="269"/>
                  <a:pt x="120" y="263"/>
                </a:cubicBezTo>
                <a:cubicBezTo>
                  <a:pt x="123" y="257"/>
                  <a:pt x="131" y="254"/>
                  <a:pt x="137" y="257"/>
                </a:cubicBezTo>
                <a:cubicBezTo>
                  <a:pt x="143" y="260"/>
                  <a:pt x="145" y="267"/>
                  <a:pt x="142" y="273"/>
                </a:cubicBezTo>
                <a:cubicBezTo>
                  <a:pt x="139" y="279"/>
                  <a:pt x="132" y="282"/>
                  <a:pt x="126" y="279"/>
                </a:cubicBezTo>
                <a:close/>
                <a:moveTo>
                  <a:pt x="172" y="250"/>
                </a:moveTo>
                <a:cubicBezTo>
                  <a:pt x="168" y="250"/>
                  <a:pt x="164" y="246"/>
                  <a:pt x="165" y="242"/>
                </a:cubicBezTo>
                <a:cubicBezTo>
                  <a:pt x="165" y="238"/>
                  <a:pt x="168" y="234"/>
                  <a:pt x="173" y="234"/>
                </a:cubicBezTo>
                <a:cubicBezTo>
                  <a:pt x="177" y="235"/>
                  <a:pt x="181" y="238"/>
                  <a:pt x="180" y="243"/>
                </a:cubicBezTo>
                <a:cubicBezTo>
                  <a:pt x="180" y="247"/>
                  <a:pt x="177" y="250"/>
                  <a:pt x="172" y="250"/>
                </a:cubicBezTo>
                <a:close/>
                <a:moveTo>
                  <a:pt x="251" y="177"/>
                </a:moveTo>
                <a:cubicBezTo>
                  <a:pt x="251" y="181"/>
                  <a:pt x="247" y="185"/>
                  <a:pt x="243" y="185"/>
                </a:cubicBezTo>
                <a:cubicBezTo>
                  <a:pt x="238" y="184"/>
                  <a:pt x="235" y="181"/>
                  <a:pt x="235" y="176"/>
                </a:cubicBezTo>
                <a:cubicBezTo>
                  <a:pt x="235" y="172"/>
                  <a:pt x="239" y="168"/>
                  <a:pt x="243" y="169"/>
                </a:cubicBezTo>
                <a:cubicBezTo>
                  <a:pt x="248" y="169"/>
                  <a:pt x="251" y="173"/>
                  <a:pt x="251" y="177"/>
                </a:cubicBezTo>
                <a:close/>
                <a:moveTo>
                  <a:pt x="268" y="127"/>
                </a:moveTo>
                <a:cubicBezTo>
                  <a:pt x="274" y="125"/>
                  <a:pt x="281" y="128"/>
                  <a:pt x="284" y="134"/>
                </a:cubicBezTo>
                <a:cubicBezTo>
                  <a:pt x="286" y="141"/>
                  <a:pt x="283" y="148"/>
                  <a:pt x="276" y="150"/>
                </a:cubicBezTo>
                <a:cubicBezTo>
                  <a:pt x="270" y="152"/>
                  <a:pt x="263" y="149"/>
                  <a:pt x="261" y="143"/>
                </a:cubicBezTo>
                <a:cubicBezTo>
                  <a:pt x="259" y="136"/>
                  <a:pt x="262" y="129"/>
                  <a:pt x="268" y="127"/>
                </a:cubicBezTo>
                <a:close/>
                <a:moveTo>
                  <a:pt x="231" y="122"/>
                </a:moveTo>
                <a:cubicBezTo>
                  <a:pt x="234" y="126"/>
                  <a:pt x="233" y="131"/>
                  <a:pt x="230" y="134"/>
                </a:cubicBezTo>
                <a:cubicBezTo>
                  <a:pt x="227" y="137"/>
                  <a:pt x="222" y="136"/>
                  <a:pt x="219" y="133"/>
                </a:cubicBezTo>
                <a:cubicBezTo>
                  <a:pt x="216" y="130"/>
                  <a:pt x="216" y="125"/>
                  <a:pt x="219" y="122"/>
                </a:cubicBezTo>
                <a:cubicBezTo>
                  <a:pt x="223" y="119"/>
                  <a:pt x="228" y="119"/>
                  <a:pt x="231" y="122"/>
                </a:cubicBezTo>
                <a:close/>
                <a:moveTo>
                  <a:pt x="202" y="150"/>
                </a:moveTo>
                <a:cubicBezTo>
                  <a:pt x="216" y="166"/>
                  <a:pt x="215" y="190"/>
                  <a:pt x="200" y="204"/>
                </a:cubicBezTo>
                <a:cubicBezTo>
                  <a:pt x="184" y="218"/>
                  <a:pt x="160" y="217"/>
                  <a:pt x="146" y="202"/>
                </a:cubicBezTo>
                <a:cubicBezTo>
                  <a:pt x="132" y="186"/>
                  <a:pt x="133" y="162"/>
                  <a:pt x="148" y="148"/>
                </a:cubicBezTo>
                <a:cubicBezTo>
                  <a:pt x="164" y="134"/>
                  <a:pt x="188" y="135"/>
                  <a:pt x="202" y="150"/>
                </a:cubicBezTo>
                <a:close/>
                <a:moveTo>
                  <a:pt x="224" y="69"/>
                </a:moveTo>
                <a:cubicBezTo>
                  <a:pt x="230" y="72"/>
                  <a:pt x="232" y="79"/>
                  <a:pt x="229" y="85"/>
                </a:cubicBezTo>
                <a:cubicBezTo>
                  <a:pt x="227" y="91"/>
                  <a:pt x="219" y="94"/>
                  <a:pt x="213" y="91"/>
                </a:cubicBezTo>
                <a:cubicBezTo>
                  <a:pt x="207" y="88"/>
                  <a:pt x="205" y="81"/>
                  <a:pt x="208" y="75"/>
                </a:cubicBezTo>
                <a:cubicBezTo>
                  <a:pt x="210" y="69"/>
                  <a:pt x="218" y="66"/>
                  <a:pt x="224" y="69"/>
                </a:cubicBezTo>
                <a:close/>
                <a:moveTo>
                  <a:pt x="178" y="98"/>
                </a:moveTo>
                <a:cubicBezTo>
                  <a:pt x="182" y="98"/>
                  <a:pt x="185" y="102"/>
                  <a:pt x="185" y="106"/>
                </a:cubicBezTo>
                <a:cubicBezTo>
                  <a:pt x="185" y="111"/>
                  <a:pt x="181" y="114"/>
                  <a:pt x="177" y="114"/>
                </a:cubicBezTo>
                <a:cubicBezTo>
                  <a:pt x="173" y="114"/>
                  <a:pt x="169" y="110"/>
                  <a:pt x="169" y="106"/>
                </a:cubicBezTo>
                <a:cubicBezTo>
                  <a:pt x="170" y="101"/>
                  <a:pt x="173" y="98"/>
                  <a:pt x="178" y="98"/>
                </a:cubicBezTo>
                <a:close/>
                <a:moveTo>
                  <a:pt x="134" y="119"/>
                </a:moveTo>
                <a:cubicBezTo>
                  <a:pt x="137" y="122"/>
                  <a:pt x="137" y="127"/>
                  <a:pt x="134" y="130"/>
                </a:cubicBezTo>
                <a:cubicBezTo>
                  <a:pt x="131" y="133"/>
                  <a:pt x="126" y="133"/>
                  <a:pt x="123" y="130"/>
                </a:cubicBezTo>
                <a:cubicBezTo>
                  <a:pt x="120" y="126"/>
                  <a:pt x="120" y="121"/>
                  <a:pt x="123" y="118"/>
                </a:cubicBezTo>
                <a:cubicBezTo>
                  <a:pt x="126" y="115"/>
                  <a:pt x="131" y="116"/>
                  <a:pt x="134" y="119"/>
                </a:cubicBezTo>
                <a:close/>
                <a:moveTo>
                  <a:pt x="76" y="142"/>
                </a:moveTo>
                <a:cubicBezTo>
                  <a:pt x="70" y="139"/>
                  <a:pt x="67" y="131"/>
                  <a:pt x="70" y="125"/>
                </a:cubicBezTo>
                <a:cubicBezTo>
                  <a:pt x="73" y="119"/>
                  <a:pt x="80" y="117"/>
                  <a:pt x="86" y="120"/>
                </a:cubicBezTo>
                <a:cubicBezTo>
                  <a:pt x="92" y="123"/>
                  <a:pt x="95" y="130"/>
                  <a:pt x="92" y="136"/>
                </a:cubicBezTo>
                <a:cubicBezTo>
                  <a:pt x="89" y="142"/>
                  <a:pt x="82" y="144"/>
                  <a:pt x="76" y="142"/>
                </a:cubicBezTo>
                <a:close/>
                <a:moveTo>
                  <a:pt x="135" y="65"/>
                </a:moveTo>
                <a:cubicBezTo>
                  <a:pt x="141" y="63"/>
                  <a:pt x="148" y="67"/>
                  <a:pt x="151" y="73"/>
                </a:cubicBezTo>
                <a:cubicBezTo>
                  <a:pt x="153" y="79"/>
                  <a:pt x="150" y="86"/>
                  <a:pt x="143" y="88"/>
                </a:cubicBezTo>
                <a:cubicBezTo>
                  <a:pt x="137" y="91"/>
                  <a:pt x="130" y="87"/>
                  <a:pt x="128" y="81"/>
                </a:cubicBezTo>
                <a:cubicBezTo>
                  <a:pt x="126" y="75"/>
                  <a:pt x="129" y="68"/>
                  <a:pt x="135" y="65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1798" kern="0">
              <a:solidFill>
                <a:srgbClr val="FFFFFF"/>
              </a:solidFill>
            </a:endParaRPr>
          </a:p>
        </p:txBody>
      </p:sp>
      <p:grpSp>
        <p:nvGrpSpPr>
          <p:cNvPr id="11" name="Group 16"/>
          <p:cNvGrpSpPr>
            <a:grpSpLocks noChangeAspect="1"/>
          </p:cNvGrpSpPr>
          <p:nvPr userDrawn="1"/>
        </p:nvGrpSpPr>
        <p:grpSpPr bwMode="auto">
          <a:xfrm>
            <a:off x="8585191" y="3418753"/>
            <a:ext cx="2998740" cy="2997684"/>
            <a:chOff x="3270" y="1588"/>
            <a:chExt cx="1146" cy="1145"/>
          </a:xfrm>
          <a:solidFill>
            <a:schemeClr val="tx2">
              <a:lumMod val="50000"/>
            </a:schemeClr>
          </a:solidFill>
        </p:grpSpPr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3270" y="1588"/>
              <a:ext cx="1146" cy="1145"/>
            </a:xfrm>
            <a:custGeom>
              <a:avLst/>
              <a:gdLst>
                <a:gd name="T0" fmla="*/ 96 w 482"/>
                <a:gd name="T1" fmla="*/ 75 h 482"/>
                <a:gd name="T2" fmla="*/ 48 w 482"/>
                <a:gd name="T3" fmla="*/ 96 h 482"/>
                <a:gd name="T4" fmla="*/ 23 w 482"/>
                <a:gd name="T5" fmla="*/ 139 h 482"/>
                <a:gd name="T6" fmla="*/ 24 w 482"/>
                <a:gd name="T7" fmla="*/ 190 h 482"/>
                <a:gd name="T8" fmla="*/ 0 w 482"/>
                <a:gd name="T9" fmla="*/ 236 h 482"/>
                <a:gd name="T10" fmla="*/ 4 w 482"/>
                <a:gd name="T11" fmla="*/ 285 h 482"/>
                <a:gd name="T12" fmla="*/ 34 w 482"/>
                <a:gd name="T13" fmla="*/ 326 h 482"/>
                <a:gd name="T14" fmla="*/ 42 w 482"/>
                <a:gd name="T15" fmla="*/ 376 h 482"/>
                <a:gd name="T16" fmla="*/ 73 w 482"/>
                <a:gd name="T17" fmla="*/ 414 h 482"/>
                <a:gd name="T18" fmla="*/ 121 w 482"/>
                <a:gd name="T19" fmla="*/ 430 h 482"/>
                <a:gd name="T20" fmla="*/ 157 w 482"/>
                <a:gd name="T21" fmla="*/ 467 h 482"/>
                <a:gd name="T22" fmla="*/ 205 w 482"/>
                <a:gd name="T23" fmla="*/ 479 h 482"/>
                <a:gd name="T24" fmla="*/ 253 w 482"/>
                <a:gd name="T25" fmla="*/ 462 h 482"/>
                <a:gd name="T26" fmla="*/ 305 w 482"/>
                <a:gd name="T27" fmla="*/ 473 h 482"/>
                <a:gd name="T28" fmla="*/ 351 w 482"/>
                <a:gd name="T29" fmla="*/ 455 h 482"/>
                <a:gd name="T30" fmla="*/ 379 w 482"/>
                <a:gd name="T31" fmla="*/ 411 h 482"/>
                <a:gd name="T32" fmla="*/ 411 w 482"/>
                <a:gd name="T33" fmla="*/ 410 h 482"/>
                <a:gd name="T34" fmla="*/ 436 w 482"/>
                <a:gd name="T35" fmla="*/ 381 h 482"/>
                <a:gd name="T36" fmla="*/ 450 w 482"/>
                <a:gd name="T37" fmla="*/ 360 h 482"/>
                <a:gd name="T38" fmla="*/ 464 w 482"/>
                <a:gd name="T39" fmla="*/ 324 h 482"/>
                <a:gd name="T40" fmla="*/ 451 w 482"/>
                <a:gd name="T41" fmla="*/ 296 h 482"/>
                <a:gd name="T42" fmla="*/ 477 w 482"/>
                <a:gd name="T43" fmla="*/ 276 h 482"/>
                <a:gd name="T44" fmla="*/ 481 w 482"/>
                <a:gd name="T45" fmla="*/ 238 h 482"/>
                <a:gd name="T46" fmla="*/ 480 w 482"/>
                <a:gd name="T47" fmla="*/ 213 h 482"/>
                <a:gd name="T48" fmla="*/ 469 w 482"/>
                <a:gd name="T49" fmla="*/ 176 h 482"/>
                <a:gd name="T50" fmla="*/ 441 w 482"/>
                <a:gd name="T51" fmla="*/ 160 h 482"/>
                <a:gd name="T52" fmla="*/ 450 w 482"/>
                <a:gd name="T53" fmla="*/ 129 h 482"/>
                <a:gd name="T54" fmla="*/ 432 w 482"/>
                <a:gd name="T55" fmla="*/ 95 h 482"/>
                <a:gd name="T56" fmla="*/ 416 w 482"/>
                <a:gd name="T57" fmla="*/ 76 h 482"/>
                <a:gd name="T58" fmla="*/ 385 w 482"/>
                <a:gd name="T59" fmla="*/ 53 h 482"/>
                <a:gd name="T60" fmla="*/ 354 w 482"/>
                <a:gd name="T61" fmla="*/ 56 h 482"/>
                <a:gd name="T62" fmla="*/ 343 w 482"/>
                <a:gd name="T63" fmla="*/ 26 h 482"/>
                <a:gd name="T64" fmla="*/ 308 w 482"/>
                <a:gd name="T65" fmla="*/ 10 h 482"/>
                <a:gd name="T66" fmla="*/ 283 w 482"/>
                <a:gd name="T67" fmla="*/ 4 h 482"/>
                <a:gd name="T68" fmla="*/ 245 w 482"/>
                <a:gd name="T69" fmla="*/ 2 h 482"/>
                <a:gd name="T70" fmla="*/ 222 w 482"/>
                <a:gd name="T71" fmla="*/ 24 h 482"/>
                <a:gd name="T72" fmla="*/ 195 w 482"/>
                <a:gd name="T73" fmla="*/ 5 h 482"/>
                <a:gd name="T74" fmla="*/ 158 w 482"/>
                <a:gd name="T75" fmla="*/ 15 h 482"/>
                <a:gd name="T76" fmla="*/ 135 w 482"/>
                <a:gd name="T77" fmla="*/ 25 h 482"/>
                <a:gd name="T78" fmla="*/ 103 w 482"/>
                <a:gd name="T79" fmla="*/ 248 h 482"/>
                <a:gd name="T80" fmla="*/ 166 w 482"/>
                <a:gd name="T81" fmla="*/ 369 h 482"/>
                <a:gd name="T82" fmla="*/ 166 w 482"/>
                <a:gd name="T83" fmla="*/ 369 h 482"/>
                <a:gd name="T84" fmla="*/ 399 w 482"/>
                <a:gd name="T85" fmla="*/ 233 h 482"/>
                <a:gd name="T86" fmla="*/ 302 w 482"/>
                <a:gd name="T87" fmla="*/ 105 h 482"/>
                <a:gd name="T88" fmla="*/ 277 w 482"/>
                <a:gd name="T89" fmla="*/ 111 h 482"/>
                <a:gd name="T90" fmla="*/ 354 w 482"/>
                <a:gd name="T91" fmla="*/ 85 h 482"/>
                <a:gd name="T92" fmla="*/ 362 w 482"/>
                <a:gd name="T93" fmla="*/ 218 h 482"/>
                <a:gd name="T94" fmla="*/ 368 w 482"/>
                <a:gd name="T95" fmla="*/ 386 h 482"/>
                <a:gd name="T96" fmla="*/ 290 w 482"/>
                <a:gd name="T97" fmla="*/ 366 h 482"/>
                <a:gd name="T98" fmla="*/ 202 w 482"/>
                <a:gd name="T99" fmla="*/ 356 h 482"/>
                <a:gd name="T100" fmla="*/ 78 w 482"/>
                <a:gd name="T101" fmla="*/ 344 h 482"/>
                <a:gd name="T102" fmla="*/ 121 w 482"/>
                <a:gd name="T103" fmla="*/ 231 h 482"/>
                <a:gd name="T104" fmla="*/ 147 w 482"/>
                <a:gd name="T105" fmla="*/ 145 h 482"/>
                <a:gd name="T106" fmla="*/ 162 w 482"/>
                <a:gd name="T107" fmla="*/ 65 h 482"/>
                <a:gd name="T108" fmla="*/ 318 w 482"/>
                <a:gd name="T109" fmla="*/ 358 h 482"/>
                <a:gd name="T110" fmla="*/ 169 w 482"/>
                <a:gd name="T111" fmla="*/ 11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82" h="482">
                  <a:moveTo>
                    <a:pt x="124" y="55"/>
                  </a:moveTo>
                  <a:cubicBezTo>
                    <a:pt x="118" y="58"/>
                    <a:pt x="108" y="54"/>
                    <a:pt x="102" y="44"/>
                  </a:cubicBezTo>
                  <a:cubicBezTo>
                    <a:pt x="99" y="47"/>
                    <a:pt x="96" y="49"/>
                    <a:pt x="92" y="51"/>
                  </a:cubicBezTo>
                  <a:cubicBezTo>
                    <a:pt x="99" y="60"/>
                    <a:pt x="101" y="70"/>
                    <a:pt x="96" y="75"/>
                  </a:cubicBezTo>
                  <a:cubicBezTo>
                    <a:pt x="91" y="79"/>
                    <a:pt x="81" y="76"/>
                    <a:pt x="73" y="68"/>
                  </a:cubicBezTo>
                  <a:cubicBezTo>
                    <a:pt x="70" y="71"/>
                    <a:pt x="67" y="74"/>
                    <a:pt x="65" y="77"/>
                  </a:cubicBezTo>
                  <a:cubicBezTo>
                    <a:pt x="73" y="84"/>
                    <a:pt x="76" y="94"/>
                    <a:pt x="71" y="99"/>
                  </a:cubicBezTo>
                  <a:cubicBezTo>
                    <a:pt x="67" y="104"/>
                    <a:pt x="57" y="103"/>
                    <a:pt x="48" y="96"/>
                  </a:cubicBezTo>
                  <a:cubicBezTo>
                    <a:pt x="46" y="100"/>
                    <a:pt x="44" y="103"/>
                    <a:pt x="41" y="106"/>
                  </a:cubicBezTo>
                  <a:cubicBezTo>
                    <a:pt x="50" y="112"/>
                    <a:pt x="54" y="121"/>
                    <a:pt x="51" y="127"/>
                  </a:cubicBezTo>
                  <a:cubicBezTo>
                    <a:pt x="47" y="132"/>
                    <a:pt x="37" y="133"/>
                    <a:pt x="28" y="128"/>
                  </a:cubicBezTo>
                  <a:cubicBezTo>
                    <a:pt x="26" y="132"/>
                    <a:pt x="24" y="135"/>
                    <a:pt x="23" y="139"/>
                  </a:cubicBezTo>
                  <a:cubicBezTo>
                    <a:pt x="32" y="143"/>
                    <a:pt x="37" y="151"/>
                    <a:pt x="35" y="157"/>
                  </a:cubicBezTo>
                  <a:cubicBezTo>
                    <a:pt x="32" y="163"/>
                    <a:pt x="23" y="166"/>
                    <a:pt x="13" y="162"/>
                  </a:cubicBezTo>
                  <a:cubicBezTo>
                    <a:pt x="12" y="166"/>
                    <a:pt x="11" y="170"/>
                    <a:pt x="10" y="174"/>
                  </a:cubicBezTo>
                  <a:cubicBezTo>
                    <a:pt x="19" y="177"/>
                    <a:pt x="25" y="184"/>
                    <a:pt x="24" y="190"/>
                  </a:cubicBezTo>
                  <a:cubicBezTo>
                    <a:pt x="22" y="196"/>
                    <a:pt x="14" y="200"/>
                    <a:pt x="4" y="199"/>
                  </a:cubicBezTo>
                  <a:cubicBezTo>
                    <a:pt x="3" y="203"/>
                    <a:pt x="3" y="206"/>
                    <a:pt x="2" y="210"/>
                  </a:cubicBezTo>
                  <a:cubicBezTo>
                    <a:pt x="12" y="212"/>
                    <a:pt x="19" y="218"/>
                    <a:pt x="18" y="224"/>
                  </a:cubicBezTo>
                  <a:cubicBezTo>
                    <a:pt x="18" y="231"/>
                    <a:pt x="10" y="235"/>
                    <a:pt x="0" y="236"/>
                  </a:cubicBezTo>
                  <a:cubicBezTo>
                    <a:pt x="0" y="240"/>
                    <a:pt x="0" y="244"/>
                    <a:pt x="0" y="248"/>
                  </a:cubicBezTo>
                  <a:cubicBezTo>
                    <a:pt x="10" y="248"/>
                    <a:pt x="17" y="252"/>
                    <a:pt x="18" y="259"/>
                  </a:cubicBezTo>
                  <a:cubicBezTo>
                    <a:pt x="19" y="265"/>
                    <a:pt x="12" y="271"/>
                    <a:pt x="2" y="273"/>
                  </a:cubicBezTo>
                  <a:cubicBezTo>
                    <a:pt x="3" y="277"/>
                    <a:pt x="3" y="281"/>
                    <a:pt x="4" y="285"/>
                  </a:cubicBezTo>
                  <a:cubicBezTo>
                    <a:pt x="13" y="284"/>
                    <a:pt x="22" y="287"/>
                    <a:pt x="23" y="293"/>
                  </a:cubicBezTo>
                  <a:cubicBezTo>
                    <a:pt x="25" y="299"/>
                    <a:pt x="19" y="306"/>
                    <a:pt x="10" y="309"/>
                  </a:cubicBezTo>
                  <a:cubicBezTo>
                    <a:pt x="11" y="313"/>
                    <a:pt x="12" y="317"/>
                    <a:pt x="14" y="321"/>
                  </a:cubicBezTo>
                  <a:cubicBezTo>
                    <a:pt x="23" y="318"/>
                    <a:pt x="31" y="320"/>
                    <a:pt x="34" y="326"/>
                  </a:cubicBezTo>
                  <a:cubicBezTo>
                    <a:pt x="36" y="332"/>
                    <a:pt x="32" y="339"/>
                    <a:pt x="23" y="344"/>
                  </a:cubicBezTo>
                  <a:cubicBezTo>
                    <a:pt x="25" y="348"/>
                    <a:pt x="27" y="351"/>
                    <a:pt x="29" y="355"/>
                  </a:cubicBezTo>
                  <a:cubicBezTo>
                    <a:pt x="37" y="351"/>
                    <a:pt x="46" y="351"/>
                    <a:pt x="49" y="357"/>
                  </a:cubicBezTo>
                  <a:cubicBezTo>
                    <a:pt x="52" y="362"/>
                    <a:pt x="49" y="370"/>
                    <a:pt x="42" y="376"/>
                  </a:cubicBezTo>
                  <a:cubicBezTo>
                    <a:pt x="44" y="380"/>
                    <a:pt x="46" y="383"/>
                    <a:pt x="49" y="386"/>
                  </a:cubicBezTo>
                  <a:cubicBezTo>
                    <a:pt x="57" y="381"/>
                    <a:pt x="65" y="380"/>
                    <a:pt x="69" y="385"/>
                  </a:cubicBezTo>
                  <a:cubicBezTo>
                    <a:pt x="73" y="389"/>
                    <a:pt x="71" y="398"/>
                    <a:pt x="65" y="405"/>
                  </a:cubicBezTo>
                  <a:cubicBezTo>
                    <a:pt x="68" y="408"/>
                    <a:pt x="70" y="411"/>
                    <a:pt x="73" y="414"/>
                  </a:cubicBezTo>
                  <a:cubicBezTo>
                    <a:pt x="80" y="407"/>
                    <a:pt x="89" y="405"/>
                    <a:pt x="93" y="409"/>
                  </a:cubicBezTo>
                  <a:cubicBezTo>
                    <a:pt x="98" y="413"/>
                    <a:pt x="98" y="422"/>
                    <a:pt x="92" y="430"/>
                  </a:cubicBezTo>
                  <a:cubicBezTo>
                    <a:pt x="95" y="433"/>
                    <a:pt x="99" y="435"/>
                    <a:pt x="102" y="438"/>
                  </a:cubicBezTo>
                  <a:cubicBezTo>
                    <a:pt x="108" y="430"/>
                    <a:pt x="116" y="427"/>
                    <a:pt x="121" y="430"/>
                  </a:cubicBezTo>
                  <a:cubicBezTo>
                    <a:pt x="127" y="433"/>
                    <a:pt x="127" y="442"/>
                    <a:pt x="123" y="451"/>
                  </a:cubicBezTo>
                  <a:cubicBezTo>
                    <a:pt x="127" y="453"/>
                    <a:pt x="130" y="455"/>
                    <a:pt x="134" y="457"/>
                  </a:cubicBezTo>
                  <a:cubicBezTo>
                    <a:pt x="138" y="448"/>
                    <a:pt x="146" y="443"/>
                    <a:pt x="152" y="446"/>
                  </a:cubicBezTo>
                  <a:cubicBezTo>
                    <a:pt x="158" y="448"/>
                    <a:pt x="160" y="457"/>
                    <a:pt x="157" y="467"/>
                  </a:cubicBezTo>
                  <a:cubicBezTo>
                    <a:pt x="161" y="468"/>
                    <a:pt x="165" y="469"/>
                    <a:pt x="168" y="471"/>
                  </a:cubicBezTo>
                  <a:cubicBezTo>
                    <a:pt x="172" y="461"/>
                    <a:pt x="178" y="455"/>
                    <a:pt x="185" y="457"/>
                  </a:cubicBezTo>
                  <a:cubicBezTo>
                    <a:pt x="191" y="458"/>
                    <a:pt x="194" y="467"/>
                    <a:pt x="193" y="477"/>
                  </a:cubicBezTo>
                  <a:cubicBezTo>
                    <a:pt x="197" y="478"/>
                    <a:pt x="201" y="478"/>
                    <a:pt x="205" y="479"/>
                  </a:cubicBezTo>
                  <a:cubicBezTo>
                    <a:pt x="206" y="469"/>
                    <a:pt x="212" y="462"/>
                    <a:pt x="219" y="462"/>
                  </a:cubicBezTo>
                  <a:cubicBezTo>
                    <a:pt x="225" y="463"/>
                    <a:pt x="230" y="471"/>
                    <a:pt x="230" y="481"/>
                  </a:cubicBezTo>
                  <a:cubicBezTo>
                    <a:pt x="234" y="482"/>
                    <a:pt x="238" y="482"/>
                    <a:pt x="242" y="482"/>
                  </a:cubicBezTo>
                  <a:cubicBezTo>
                    <a:pt x="242" y="471"/>
                    <a:pt x="247" y="463"/>
                    <a:pt x="253" y="462"/>
                  </a:cubicBezTo>
                  <a:cubicBezTo>
                    <a:pt x="260" y="462"/>
                    <a:pt x="266" y="470"/>
                    <a:pt x="268" y="480"/>
                  </a:cubicBezTo>
                  <a:cubicBezTo>
                    <a:pt x="272" y="480"/>
                    <a:pt x="276" y="479"/>
                    <a:pt x="280" y="479"/>
                  </a:cubicBezTo>
                  <a:cubicBezTo>
                    <a:pt x="278" y="468"/>
                    <a:pt x="281" y="459"/>
                    <a:pt x="287" y="457"/>
                  </a:cubicBezTo>
                  <a:cubicBezTo>
                    <a:pt x="294" y="456"/>
                    <a:pt x="302" y="463"/>
                    <a:pt x="305" y="473"/>
                  </a:cubicBezTo>
                  <a:cubicBezTo>
                    <a:pt x="308" y="472"/>
                    <a:pt x="312" y="471"/>
                    <a:pt x="316" y="470"/>
                  </a:cubicBezTo>
                  <a:cubicBezTo>
                    <a:pt x="312" y="460"/>
                    <a:pt x="314" y="450"/>
                    <a:pt x="320" y="447"/>
                  </a:cubicBezTo>
                  <a:cubicBezTo>
                    <a:pt x="327" y="444"/>
                    <a:pt x="335" y="450"/>
                    <a:pt x="340" y="460"/>
                  </a:cubicBezTo>
                  <a:cubicBezTo>
                    <a:pt x="344" y="459"/>
                    <a:pt x="347" y="457"/>
                    <a:pt x="351" y="455"/>
                  </a:cubicBezTo>
                  <a:cubicBezTo>
                    <a:pt x="345" y="446"/>
                    <a:pt x="345" y="435"/>
                    <a:pt x="351" y="431"/>
                  </a:cubicBezTo>
                  <a:cubicBezTo>
                    <a:pt x="357" y="428"/>
                    <a:pt x="367" y="432"/>
                    <a:pt x="373" y="442"/>
                  </a:cubicBezTo>
                  <a:cubicBezTo>
                    <a:pt x="376" y="440"/>
                    <a:pt x="380" y="438"/>
                    <a:pt x="383" y="435"/>
                  </a:cubicBezTo>
                  <a:cubicBezTo>
                    <a:pt x="376" y="427"/>
                    <a:pt x="374" y="416"/>
                    <a:pt x="379" y="411"/>
                  </a:cubicBezTo>
                  <a:cubicBezTo>
                    <a:pt x="385" y="407"/>
                    <a:pt x="395" y="410"/>
                    <a:pt x="403" y="418"/>
                  </a:cubicBezTo>
                  <a:cubicBezTo>
                    <a:pt x="403" y="419"/>
                    <a:pt x="403" y="419"/>
                    <a:pt x="403" y="419"/>
                  </a:cubicBezTo>
                  <a:cubicBezTo>
                    <a:pt x="406" y="416"/>
                    <a:pt x="409" y="413"/>
                    <a:pt x="412" y="410"/>
                  </a:cubicBezTo>
                  <a:cubicBezTo>
                    <a:pt x="412" y="410"/>
                    <a:pt x="412" y="410"/>
                    <a:pt x="411" y="410"/>
                  </a:cubicBezTo>
                  <a:cubicBezTo>
                    <a:pt x="403" y="403"/>
                    <a:pt x="399" y="393"/>
                    <a:pt x="404" y="387"/>
                  </a:cubicBezTo>
                  <a:cubicBezTo>
                    <a:pt x="408" y="382"/>
                    <a:pt x="419" y="383"/>
                    <a:pt x="428" y="391"/>
                  </a:cubicBezTo>
                  <a:cubicBezTo>
                    <a:pt x="428" y="391"/>
                    <a:pt x="429" y="391"/>
                    <a:pt x="429" y="391"/>
                  </a:cubicBezTo>
                  <a:cubicBezTo>
                    <a:pt x="431" y="388"/>
                    <a:pt x="434" y="385"/>
                    <a:pt x="436" y="381"/>
                  </a:cubicBezTo>
                  <a:cubicBezTo>
                    <a:pt x="436" y="381"/>
                    <a:pt x="436" y="381"/>
                    <a:pt x="435" y="381"/>
                  </a:cubicBezTo>
                  <a:cubicBezTo>
                    <a:pt x="426" y="375"/>
                    <a:pt x="421" y="365"/>
                    <a:pt x="424" y="359"/>
                  </a:cubicBezTo>
                  <a:cubicBezTo>
                    <a:pt x="428" y="353"/>
                    <a:pt x="439" y="353"/>
                    <a:pt x="449" y="359"/>
                  </a:cubicBezTo>
                  <a:cubicBezTo>
                    <a:pt x="449" y="359"/>
                    <a:pt x="450" y="360"/>
                    <a:pt x="450" y="360"/>
                  </a:cubicBezTo>
                  <a:cubicBezTo>
                    <a:pt x="452" y="356"/>
                    <a:pt x="454" y="353"/>
                    <a:pt x="456" y="349"/>
                  </a:cubicBezTo>
                  <a:cubicBezTo>
                    <a:pt x="456" y="349"/>
                    <a:pt x="455" y="348"/>
                    <a:pt x="455" y="348"/>
                  </a:cubicBezTo>
                  <a:cubicBezTo>
                    <a:pt x="444" y="344"/>
                    <a:pt x="438" y="335"/>
                    <a:pt x="440" y="329"/>
                  </a:cubicBezTo>
                  <a:cubicBezTo>
                    <a:pt x="443" y="322"/>
                    <a:pt x="454" y="320"/>
                    <a:pt x="464" y="324"/>
                  </a:cubicBezTo>
                  <a:cubicBezTo>
                    <a:pt x="465" y="325"/>
                    <a:pt x="466" y="325"/>
                    <a:pt x="466" y="325"/>
                  </a:cubicBezTo>
                  <a:cubicBezTo>
                    <a:pt x="468" y="321"/>
                    <a:pt x="469" y="317"/>
                    <a:pt x="470" y="313"/>
                  </a:cubicBezTo>
                  <a:cubicBezTo>
                    <a:pt x="470" y="313"/>
                    <a:pt x="469" y="313"/>
                    <a:pt x="468" y="313"/>
                  </a:cubicBezTo>
                  <a:cubicBezTo>
                    <a:pt x="457" y="310"/>
                    <a:pt x="450" y="303"/>
                    <a:pt x="451" y="296"/>
                  </a:cubicBezTo>
                  <a:cubicBezTo>
                    <a:pt x="453" y="289"/>
                    <a:pt x="463" y="285"/>
                    <a:pt x="474" y="288"/>
                  </a:cubicBezTo>
                  <a:cubicBezTo>
                    <a:pt x="475" y="288"/>
                    <a:pt x="476" y="288"/>
                    <a:pt x="477" y="289"/>
                  </a:cubicBezTo>
                  <a:cubicBezTo>
                    <a:pt x="478" y="285"/>
                    <a:pt x="478" y="280"/>
                    <a:pt x="479" y="276"/>
                  </a:cubicBezTo>
                  <a:cubicBezTo>
                    <a:pt x="478" y="276"/>
                    <a:pt x="477" y="276"/>
                    <a:pt x="477" y="276"/>
                  </a:cubicBezTo>
                  <a:cubicBezTo>
                    <a:pt x="465" y="275"/>
                    <a:pt x="456" y="269"/>
                    <a:pt x="457" y="262"/>
                  </a:cubicBezTo>
                  <a:cubicBezTo>
                    <a:pt x="457" y="255"/>
                    <a:pt x="467" y="250"/>
                    <a:pt x="478" y="250"/>
                  </a:cubicBezTo>
                  <a:cubicBezTo>
                    <a:pt x="479" y="250"/>
                    <a:pt x="480" y="251"/>
                    <a:pt x="481" y="251"/>
                  </a:cubicBezTo>
                  <a:cubicBezTo>
                    <a:pt x="481" y="246"/>
                    <a:pt x="482" y="242"/>
                    <a:pt x="481" y="238"/>
                  </a:cubicBezTo>
                  <a:cubicBezTo>
                    <a:pt x="481" y="238"/>
                    <a:pt x="480" y="238"/>
                    <a:pt x="479" y="238"/>
                  </a:cubicBezTo>
                  <a:cubicBezTo>
                    <a:pt x="467" y="239"/>
                    <a:pt x="458" y="234"/>
                    <a:pt x="457" y="227"/>
                  </a:cubicBezTo>
                  <a:cubicBezTo>
                    <a:pt x="456" y="220"/>
                    <a:pt x="465" y="214"/>
                    <a:pt x="476" y="213"/>
                  </a:cubicBezTo>
                  <a:cubicBezTo>
                    <a:pt x="478" y="213"/>
                    <a:pt x="479" y="213"/>
                    <a:pt x="480" y="213"/>
                  </a:cubicBezTo>
                  <a:cubicBezTo>
                    <a:pt x="479" y="208"/>
                    <a:pt x="479" y="204"/>
                    <a:pt x="478" y="200"/>
                  </a:cubicBezTo>
                  <a:cubicBezTo>
                    <a:pt x="477" y="200"/>
                    <a:pt x="476" y="200"/>
                    <a:pt x="475" y="201"/>
                  </a:cubicBezTo>
                  <a:cubicBezTo>
                    <a:pt x="464" y="203"/>
                    <a:pt x="454" y="200"/>
                    <a:pt x="452" y="193"/>
                  </a:cubicBezTo>
                  <a:cubicBezTo>
                    <a:pt x="450" y="186"/>
                    <a:pt x="458" y="178"/>
                    <a:pt x="469" y="176"/>
                  </a:cubicBezTo>
                  <a:cubicBezTo>
                    <a:pt x="470" y="175"/>
                    <a:pt x="471" y="175"/>
                    <a:pt x="472" y="175"/>
                  </a:cubicBezTo>
                  <a:cubicBezTo>
                    <a:pt x="471" y="171"/>
                    <a:pt x="470" y="167"/>
                    <a:pt x="468" y="162"/>
                  </a:cubicBezTo>
                  <a:cubicBezTo>
                    <a:pt x="467" y="163"/>
                    <a:pt x="466" y="163"/>
                    <a:pt x="465" y="164"/>
                  </a:cubicBezTo>
                  <a:cubicBezTo>
                    <a:pt x="455" y="168"/>
                    <a:pt x="444" y="167"/>
                    <a:pt x="441" y="160"/>
                  </a:cubicBezTo>
                  <a:cubicBezTo>
                    <a:pt x="439" y="154"/>
                    <a:pt x="445" y="145"/>
                    <a:pt x="455" y="140"/>
                  </a:cubicBezTo>
                  <a:cubicBezTo>
                    <a:pt x="457" y="140"/>
                    <a:pt x="458" y="139"/>
                    <a:pt x="459" y="139"/>
                  </a:cubicBezTo>
                  <a:cubicBezTo>
                    <a:pt x="457" y="135"/>
                    <a:pt x="455" y="131"/>
                    <a:pt x="453" y="127"/>
                  </a:cubicBezTo>
                  <a:cubicBezTo>
                    <a:pt x="452" y="128"/>
                    <a:pt x="451" y="129"/>
                    <a:pt x="450" y="129"/>
                  </a:cubicBezTo>
                  <a:cubicBezTo>
                    <a:pt x="441" y="135"/>
                    <a:pt x="430" y="135"/>
                    <a:pt x="426" y="129"/>
                  </a:cubicBezTo>
                  <a:cubicBezTo>
                    <a:pt x="422" y="123"/>
                    <a:pt x="427" y="114"/>
                    <a:pt x="437" y="107"/>
                  </a:cubicBezTo>
                  <a:cubicBezTo>
                    <a:pt x="438" y="107"/>
                    <a:pt x="439" y="106"/>
                    <a:pt x="440" y="106"/>
                  </a:cubicBezTo>
                  <a:cubicBezTo>
                    <a:pt x="437" y="102"/>
                    <a:pt x="435" y="99"/>
                    <a:pt x="432" y="95"/>
                  </a:cubicBezTo>
                  <a:cubicBezTo>
                    <a:pt x="431" y="96"/>
                    <a:pt x="431" y="97"/>
                    <a:pt x="430" y="97"/>
                  </a:cubicBezTo>
                  <a:cubicBezTo>
                    <a:pt x="421" y="105"/>
                    <a:pt x="410" y="107"/>
                    <a:pt x="406" y="101"/>
                  </a:cubicBezTo>
                  <a:cubicBezTo>
                    <a:pt x="401" y="96"/>
                    <a:pt x="404" y="86"/>
                    <a:pt x="413" y="78"/>
                  </a:cubicBezTo>
                  <a:cubicBezTo>
                    <a:pt x="414" y="77"/>
                    <a:pt x="415" y="76"/>
                    <a:pt x="416" y="76"/>
                  </a:cubicBezTo>
                  <a:cubicBezTo>
                    <a:pt x="413" y="73"/>
                    <a:pt x="410" y="69"/>
                    <a:pt x="407" y="66"/>
                  </a:cubicBezTo>
                  <a:cubicBezTo>
                    <a:pt x="406" y="67"/>
                    <a:pt x="405" y="68"/>
                    <a:pt x="405" y="69"/>
                  </a:cubicBezTo>
                  <a:cubicBezTo>
                    <a:pt x="397" y="78"/>
                    <a:pt x="387" y="81"/>
                    <a:pt x="382" y="77"/>
                  </a:cubicBezTo>
                  <a:cubicBezTo>
                    <a:pt x="376" y="72"/>
                    <a:pt x="378" y="61"/>
                    <a:pt x="385" y="53"/>
                  </a:cubicBezTo>
                  <a:cubicBezTo>
                    <a:pt x="386" y="52"/>
                    <a:pt x="387" y="51"/>
                    <a:pt x="387" y="50"/>
                  </a:cubicBezTo>
                  <a:cubicBezTo>
                    <a:pt x="384" y="47"/>
                    <a:pt x="380" y="45"/>
                    <a:pt x="377" y="42"/>
                  </a:cubicBezTo>
                  <a:cubicBezTo>
                    <a:pt x="376" y="43"/>
                    <a:pt x="376" y="44"/>
                    <a:pt x="375" y="45"/>
                  </a:cubicBezTo>
                  <a:cubicBezTo>
                    <a:pt x="370" y="55"/>
                    <a:pt x="360" y="60"/>
                    <a:pt x="354" y="56"/>
                  </a:cubicBezTo>
                  <a:cubicBezTo>
                    <a:pt x="348" y="53"/>
                    <a:pt x="348" y="42"/>
                    <a:pt x="353" y="32"/>
                  </a:cubicBezTo>
                  <a:cubicBezTo>
                    <a:pt x="354" y="31"/>
                    <a:pt x="355" y="30"/>
                    <a:pt x="355" y="29"/>
                  </a:cubicBezTo>
                  <a:cubicBezTo>
                    <a:pt x="351" y="27"/>
                    <a:pt x="348" y="25"/>
                    <a:pt x="344" y="23"/>
                  </a:cubicBezTo>
                  <a:cubicBezTo>
                    <a:pt x="343" y="24"/>
                    <a:pt x="343" y="25"/>
                    <a:pt x="343" y="26"/>
                  </a:cubicBezTo>
                  <a:cubicBezTo>
                    <a:pt x="339" y="37"/>
                    <a:pt x="330" y="43"/>
                    <a:pt x="323" y="40"/>
                  </a:cubicBezTo>
                  <a:cubicBezTo>
                    <a:pt x="317" y="38"/>
                    <a:pt x="315" y="27"/>
                    <a:pt x="319" y="16"/>
                  </a:cubicBezTo>
                  <a:cubicBezTo>
                    <a:pt x="319" y="15"/>
                    <a:pt x="320" y="15"/>
                    <a:pt x="320" y="14"/>
                  </a:cubicBezTo>
                  <a:cubicBezTo>
                    <a:pt x="316" y="12"/>
                    <a:pt x="312" y="11"/>
                    <a:pt x="308" y="10"/>
                  </a:cubicBezTo>
                  <a:cubicBezTo>
                    <a:pt x="308" y="11"/>
                    <a:pt x="308" y="11"/>
                    <a:pt x="308" y="12"/>
                  </a:cubicBezTo>
                  <a:cubicBezTo>
                    <a:pt x="305" y="23"/>
                    <a:pt x="297" y="31"/>
                    <a:pt x="290" y="29"/>
                  </a:cubicBezTo>
                  <a:cubicBezTo>
                    <a:pt x="283" y="28"/>
                    <a:pt x="280" y="18"/>
                    <a:pt x="282" y="6"/>
                  </a:cubicBezTo>
                  <a:cubicBezTo>
                    <a:pt x="283" y="6"/>
                    <a:pt x="283" y="5"/>
                    <a:pt x="283" y="4"/>
                  </a:cubicBezTo>
                  <a:cubicBezTo>
                    <a:pt x="279" y="3"/>
                    <a:pt x="275" y="3"/>
                    <a:pt x="271" y="2"/>
                  </a:cubicBezTo>
                  <a:cubicBezTo>
                    <a:pt x="271" y="3"/>
                    <a:pt x="271" y="3"/>
                    <a:pt x="271" y="4"/>
                  </a:cubicBezTo>
                  <a:cubicBezTo>
                    <a:pt x="270" y="15"/>
                    <a:pt x="263" y="24"/>
                    <a:pt x="256" y="24"/>
                  </a:cubicBezTo>
                  <a:cubicBezTo>
                    <a:pt x="249" y="23"/>
                    <a:pt x="244" y="14"/>
                    <a:pt x="245" y="2"/>
                  </a:cubicBezTo>
                  <a:cubicBezTo>
                    <a:pt x="245" y="2"/>
                    <a:pt x="245" y="1"/>
                    <a:pt x="245" y="0"/>
                  </a:cubicBezTo>
                  <a:cubicBezTo>
                    <a:pt x="241" y="0"/>
                    <a:pt x="237" y="0"/>
                    <a:pt x="233" y="0"/>
                  </a:cubicBezTo>
                  <a:cubicBezTo>
                    <a:pt x="233" y="1"/>
                    <a:pt x="233" y="1"/>
                    <a:pt x="233" y="2"/>
                  </a:cubicBezTo>
                  <a:cubicBezTo>
                    <a:pt x="234" y="13"/>
                    <a:pt x="229" y="23"/>
                    <a:pt x="222" y="24"/>
                  </a:cubicBezTo>
                  <a:cubicBezTo>
                    <a:pt x="215" y="24"/>
                    <a:pt x="208" y="15"/>
                    <a:pt x="207" y="4"/>
                  </a:cubicBezTo>
                  <a:cubicBezTo>
                    <a:pt x="207" y="4"/>
                    <a:pt x="207" y="3"/>
                    <a:pt x="207" y="3"/>
                  </a:cubicBezTo>
                  <a:cubicBezTo>
                    <a:pt x="203" y="3"/>
                    <a:pt x="199" y="4"/>
                    <a:pt x="195" y="5"/>
                  </a:cubicBezTo>
                  <a:cubicBezTo>
                    <a:pt x="195" y="5"/>
                    <a:pt x="195" y="5"/>
                    <a:pt x="195" y="5"/>
                  </a:cubicBezTo>
                  <a:cubicBezTo>
                    <a:pt x="198" y="17"/>
                    <a:pt x="195" y="27"/>
                    <a:pt x="188" y="29"/>
                  </a:cubicBezTo>
                  <a:cubicBezTo>
                    <a:pt x="181" y="30"/>
                    <a:pt x="173" y="23"/>
                    <a:pt x="170" y="12"/>
                  </a:cubicBezTo>
                  <a:cubicBezTo>
                    <a:pt x="170" y="11"/>
                    <a:pt x="170" y="11"/>
                    <a:pt x="170" y="11"/>
                  </a:cubicBezTo>
                  <a:cubicBezTo>
                    <a:pt x="166" y="12"/>
                    <a:pt x="162" y="13"/>
                    <a:pt x="158" y="15"/>
                  </a:cubicBezTo>
                  <a:cubicBezTo>
                    <a:pt x="158" y="15"/>
                    <a:pt x="158" y="15"/>
                    <a:pt x="158" y="15"/>
                  </a:cubicBezTo>
                  <a:cubicBezTo>
                    <a:pt x="163" y="26"/>
                    <a:pt x="161" y="36"/>
                    <a:pt x="155" y="39"/>
                  </a:cubicBezTo>
                  <a:cubicBezTo>
                    <a:pt x="148" y="42"/>
                    <a:pt x="139" y="36"/>
                    <a:pt x="135" y="25"/>
                  </a:cubicBezTo>
                  <a:cubicBezTo>
                    <a:pt x="135" y="25"/>
                    <a:pt x="135" y="25"/>
                    <a:pt x="135" y="25"/>
                  </a:cubicBezTo>
                  <a:cubicBezTo>
                    <a:pt x="131" y="27"/>
                    <a:pt x="127" y="29"/>
                    <a:pt x="124" y="31"/>
                  </a:cubicBezTo>
                  <a:cubicBezTo>
                    <a:pt x="130" y="40"/>
                    <a:pt x="130" y="51"/>
                    <a:pt x="124" y="55"/>
                  </a:cubicBezTo>
                  <a:close/>
                  <a:moveTo>
                    <a:pt x="93" y="239"/>
                  </a:moveTo>
                  <a:cubicBezTo>
                    <a:pt x="98" y="239"/>
                    <a:pt x="103" y="243"/>
                    <a:pt x="103" y="248"/>
                  </a:cubicBezTo>
                  <a:cubicBezTo>
                    <a:pt x="103" y="253"/>
                    <a:pt x="99" y="257"/>
                    <a:pt x="94" y="258"/>
                  </a:cubicBezTo>
                  <a:cubicBezTo>
                    <a:pt x="89" y="258"/>
                    <a:pt x="85" y="254"/>
                    <a:pt x="85" y="249"/>
                  </a:cubicBezTo>
                  <a:cubicBezTo>
                    <a:pt x="85" y="244"/>
                    <a:pt x="88" y="240"/>
                    <a:pt x="93" y="239"/>
                  </a:cubicBezTo>
                  <a:close/>
                  <a:moveTo>
                    <a:pt x="166" y="369"/>
                  </a:moveTo>
                  <a:cubicBezTo>
                    <a:pt x="169" y="364"/>
                    <a:pt x="174" y="363"/>
                    <a:pt x="179" y="365"/>
                  </a:cubicBezTo>
                  <a:cubicBezTo>
                    <a:pt x="183" y="367"/>
                    <a:pt x="185" y="373"/>
                    <a:pt x="182" y="377"/>
                  </a:cubicBezTo>
                  <a:cubicBezTo>
                    <a:pt x="180" y="382"/>
                    <a:pt x="175" y="384"/>
                    <a:pt x="170" y="381"/>
                  </a:cubicBezTo>
                  <a:cubicBezTo>
                    <a:pt x="166" y="379"/>
                    <a:pt x="164" y="373"/>
                    <a:pt x="166" y="369"/>
                  </a:cubicBezTo>
                  <a:close/>
                  <a:moveTo>
                    <a:pt x="391" y="243"/>
                  </a:moveTo>
                  <a:cubicBezTo>
                    <a:pt x="386" y="243"/>
                    <a:pt x="381" y="239"/>
                    <a:pt x="381" y="234"/>
                  </a:cubicBezTo>
                  <a:cubicBezTo>
                    <a:pt x="381" y="229"/>
                    <a:pt x="385" y="225"/>
                    <a:pt x="390" y="225"/>
                  </a:cubicBezTo>
                  <a:cubicBezTo>
                    <a:pt x="395" y="224"/>
                    <a:pt x="399" y="228"/>
                    <a:pt x="399" y="233"/>
                  </a:cubicBezTo>
                  <a:cubicBezTo>
                    <a:pt x="399" y="238"/>
                    <a:pt x="396" y="242"/>
                    <a:pt x="391" y="243"/>
                  </a:cubicBezTo>
                  <a:close/>
                  <a:moveTo>
                    <a:pt x="318" y="113"/>
                  </a:moveTo>
                  <a:cubicBezTo>
                    <a:pt x="315" y="118"/>
                    <a:pt x="310" y="119"/>
                    <a:pt x="305" y="117"/>
                  </a:cubicBezTo>
                  <a:cubicBezTo>
                    <a:pt x="301" y="115"/>
                    <a:pt x="299" y="109"/>
                    <a:pt x="302" y="105"/>
                  </a:cubicBezTo>
                  <a:cubicBezTo>
                    <a:pt x="304" y="100"/>
                    <a:pt x="309" y="99"/>
                    <a:pt x="314" y="101"/>
                  </a:cubicBezTo>
                  <a:cubicBezTo>
                    <a:pt x="318" y="103"/>
                    <a:pt x="320" y="109"/>
                    <a:pt x="318" y="113"/>
                  </a:cubicBezTo>
                  <a:close/>
                  <a:moveTo>
                    <a:pt x="305" y="59"/>
                  </a:moveTo>
                  <a:cubicBezTo>
                    <a:pt x="277" y="111"/>
                    <a:pt x="277" y="111"/>
                    <a:pt x="277" y="111"/>
                  </a:cubicBezTo>
                  <a:cubicBezTo>
                    <a:pt x="275" y="116"/>
                    <a:pt x="277" y="123"/>
                    <a:pt x="282" y="126"/>
                  </a:cubicBezTo>
                  <a:cubicBezTo>
                    <a:pt x="311" y="141"/>
                    <a:pt x="311" y="141"/>
                    <a:pt x="311" y="141"/>
                  </a:cubicBezTo>
                  <a:cubicBezTo>
                    <a:pt x="317" y="144"/>
                    <a:pt x="323" y="142"/>
                    <a:pt x="326" y="137"/>
                  </a:cubicBezTo>
                  <a:cubicBezTo>
                    <a:pt x="354" y="85"/>
                    <a:pt x="354" y="85"/>
                    <a:pt x="354" y="85"/>
                  </a:cubicBezTo>
                  <a:cubicBezTo>
                    <a:pt x="373" y="99"/>
                    <a:pt x="391" y="117"/>
                    <a:pt x="404" y="139"/>
                  </a:cubicBezTo>
                  <a:cubicBezTo>
                    <a:pt x="417" y="159"/>
                    <a:pt x="426" y="182"/>
                    <a:pt x="430" y="204"/>
                  </a:cubicBezTo>
                  <a:cubicBezTo>
                    <a:pt x="373" y="207"/>
                    <a:pt x="373" y="207"/>
                    <a:pt x="373" y="207"/>
                  </a:cubicBezTo>
                  <a:cubicBezTo>
                    <a:pt x="366" y="207"/>
                    <a:pt x="362" y="212"/>
                    <a:pt x="362" y="218"/>
                  </a:cubicBezTo>
                  <a:cubicBezTo>
                    <a:pt x="363" y="251"/>
                    <a:pt x="363" y="251"/>
                    <a:pt x="363" y="251"/>
                  </a:cubicBezTo>
                  <a:cubicBezTo>
                    <a:pt x="363" y="257"/>
                    <a:pt x="368" y="262"/>
                    <a:pt x="375" y="262"/>
                  </a:cubicBezTo>
                  <a:cubicBezTo>
                    <a:pt x="433" y="260"/>
                    <a:pt x="433" y="260"/>
                    <a:pt x="433" y="260"/>
                  </a:cubicBezTo>
                  <a:cubicBezTo>
                    <a:pt x="428" y="307"/>
                    <a:pt x="406" y="353"/>
                    <a:pt x="368" y="386"/>
                  </a:cubicBezTo>
                  <a:cubicBezTo>
                    <a:pt x="337" y="337"/>
                    <a:pt x="337" y="337"/>
                    <a:pt x="337" y="337"/>
                  </a:cubicBezTo>
                  <a:cubicBezTo>
                    <a:pt x="334" y="332"/>
                    <a:pt x="327" y="330"/>
                    <a:pt x="322" y="333"/>
                  </a:cubicBezTo>
                  <a:cubicBezTo>
                    <a:pt x="294" y="351"/>
                    <a:pt x="294" y="351"/>
                    <a:pt x="294" y="351"/>
                  </a:cubicBezTo>
                  <a:cubicBezTo>
                    <a:pt x="289" y="354"/>
                    <a:pt x="287" y="361"/>
                    <a:pt x="290" y="366"/>
                  </a:cubicBezTo>
                  <a:cubicBezTo>
                    <a:pt x="322" y="416"/>
                    <a:pt x="322" y="416"/>
                    <a:pt x="322" y="416"/>
                  </a:cubicBezTo>
                  <a:cubicBezTo>
                    <a:pt x="276" y="437"/>
                    <a:pt x="225" y="439"/>
                    <a:pt x="179" y="424"/>
                  </a:cubicBezTo>
                  <a:cubicBezTo>
                    <a:pt x="207" y="371"/>
                    <a:pt x="207" y="371"/>
                    <a:pt x="207" y="371"/>
                  </a:cubicBezTo>
                  <a:cubicBezTo>
                    <a:pt x="209" y="366"/>
                    <a:pt x="207" y="359"/>
                    <a:pt x="202" y="356"/>
                  </a:cubicBezTo>
                  <a:cubicBezTo>
                    <a:pt x="173" y="341"/>
                    <a:pt x="173" y="341"/>
                    <a:pt x="173" y="341"/>
                  </a:cubicBezTo>
                  <a:cubicBezTo>
                    <a:pt x="167" y="338"/>
                    <a:pt x="161" y="340"/>
                    <a:pt x="158" y="346"/>
                  </a:cubicBezTo>
                  <a:cubicBezTo>
                    <a:pt x="130" y="399"/>
                    <a:pt x="130" y="399"/>
                    <a:pt x="130" y="399"/>
                  </a:cubicBezTo>
                  <a:cubicBezTo>
                    <a:pt x="109" y="384"/>
                    <a:pt x="92" y="366"/>
                    <a:pt x="78" y="344"/>
                  </a:cubicBezTo>
                  <a:cubicBezTo>
                    <a:pt x="65" y="323"/>
                    <a:pt x="56" y="300"/>
                    <a:pt x="52" y="278"/>
                  </a:cubicBezTo>
                  <a:cubicBezTo>
                    <a:pt x="111" y="276"/>
                    <a:pt x="111" y="276"/>
                    <a:pt x="111" y="276"/>
                  </a:cubicBezTo>
                  <a:cubicBezTo>
                    <a:pt x="118" y="275"/>
                    <a:pt x="122" y="270"/>
                    <a:pt x="122" y="264"/>
                  </a:cubicBezTo>
                  <a:cubicBezTo>
                    <a:pt x="121" y="231"/>
                    <a:pt x="121" y="231"/>
                    <a:pt x="121" y="231"/>
                  </a:cubicBezTo>
                  <a:cubicBezTo>
                    <a:pt x="121" y="225"/>
                    <a:pt x="116" y="220"/>
                    <a:pt x="109" y="220"/>
                  </a:cubicBezTo>
                  <a:cubicBezTo>
                    <a:pt x="49" y="222"/>
                    <a:pt x="49" y="222"/>
                    <a:pt x="49" y="222"/>
                  </a:cubicBezTo>
                  <a:cubicBezTo>
                    <a:pt x="54" y="174"/>
                    <a:pt x="77" y="128"/>
                    <a:pt x="115" y="95"/>
                  </a:cubicBezTo>
                  <a:cubicBezTo>
                    <a:pt x="147" y="145"/>
                    <a:pt x="147" y="145"/>
                    <a:pt x="147" y="145"/>
                  </a:cubicBezTo>
                  <a:cubicBezTo>
                    <a:pt x="150" y="150"/>
                    <a:pt x="157" y="152"/>
                    <a:pt x="162" y="149"/>
                  </a:cubicBezTo>
                  <a:cubicBezTo>
                    <a:pt x="190" y="131"/>
                    <a:pt x="190" y="131"/>
                    <a:pt x="190" y="131"/>
                  </a:cubicBezTo>
                  <a:cubicBezTo>
                    <a:pt x="195" y="128"/>
                    <a:pt x="197" y="121"/>
                    <a:pt x="194" y="116"/>
                  </a:cubicBezTo>
                  <a:cubicBezTo>
                    <a:pt x="162" y="65"/>
                    <a:pt x="162" y="65"/>
                    <a:pt x="162" y="65"/>
                  </a:cubicBezTo>
                  <a:cubicBezTo>
                    <a:pt x="208" y="44"/>
                    <a:pt x="259" y="43"/>
                    <a:pt x="305" y="59"/>
                  </a:cubicBezTo>
                  <a:close/>
                  <a:moveTo>
                    <a:pt x="327" y="373"/>
                  </a:moveTo>
                  <a:cubicBezTo>
                    <a:pt x="323" y="376"/>
                    <a:pt x="318" y="375"/>
                    <a:pt x="315" y="371"/>
                  </a:cubicBezTo>
                  <a:cubicBezTo>
                    <a:pt x="312" y="366"/>
                    <a:pt x="313" y="361"/>
                    <a:pt x="318" y="358"/>
                  </a:cubicBezTo>
                  <a:cubicBezTo>
                    <a:pt x="322" y="355"/>
                    <a:pt x="328" y="357"/>
                    <a:pt x="330" y="361"/>
                  </a:cubicBezTo>
                  <a:cubicBezTo>
                    <a:pt x="333" y="365"/>
                    <a:pt x="332" y="371"/>
                    <a:pt x="327" y="373"/>
                  </a:cubicBezTo>
                  <a:close/>
                  <a:moveTo>
                    <a:pt x="157" y="109"/>
                  </a:moveTo>
                  <a:cubicBezTo>
                    <a:pt x="161" y="106"/>
                    <a:pt x="166" y="107"/>
                    <a:pt x="169" y="112"/>
                  </a:cubicBezTo>
                  <a:cubicBezTo>
                    <a:pt x="172" y="116"/>
                    <a:pt x="171" y="121"/>
                    <a:pt x="166" y="124"/>
                  </a:cubicBezTo>
                  <a:cubicBezTo>
                    <a:pt x="162" y="127"/>
                    <a:pt x="156" y="125"/>
                    <a:pt x="154" y="121"/>
                  </a:cubicBezTo>
                  <a:cubicBezTo>
                    <a:pt x="151" y="117"/>
                    <a:pt x="152" y="111"/>
                    <a:pt x="157" y="10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IN" sz="1798" kern="0">
                <a:solidFill>
                  <a:srgbClr val="FFFFFF"/>
                </a:solidFill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3456" y="1804"/>
              <a:ext cx="779" cy="712"/>
            </a:xfrm>
            <a:custGeom>
              <a:avLst/>
              <a:gdLst>
                <a:gd name="T0" fmla="*/ 31 w 328"/>
                <a:gd name="T1" fmla="*/ 157 h 300"/>
                <a:gd name="T2" fmla="*/ 15 w 328"/>
                <a:gd name="T3" fmla="*/ 142 h 300"/>
                <a:gd name="T4" fmla="*/ 0 w 328"/>
                <a:gd name="T5" fmla="*/ 158 h 300"/>
                <a:gd name="T6" fmla="*/ 16 w 328"/>
                <a:gd name="T7" fmla="*/ 173 h 300"/>
                <a:gd name="T8" fmla="*/ 31 w 328"/>
                <a:gd name="T9" fmla="*/ 157 h 300"/>
                <a:gd name="T10" fmla="*/ 16 w 328"/>
                <a:gd name="T11" fmla="*/ 167 h 300"/>
                <a:gd name="T12" fmla="*/ 7 w 328"/>
                <a:gd name="T13" fmla="*/ 158 h 300"/>
                <a:gd name="T14" fmla="*/ 15 w 328"/>
                <a:gd name="T15" fmla="*/ 148 h 300"/>
                <a:gd name="T16" fmla="*/ 25 w 328"/>
                <a:gd name="T17" fmla="*/ 157 h 300"/>
                <a:gd name="T18" fmla="*/ 16 w 328"/>
                <a:gd name="T19" fmla="*/ 167 h 300"/>
                <a:gd name="T20" fmla="*/ 70 w 328"/>
                <a:gd name="T21" fmla="*/ 34 h 300"/>
                <a:gd name="T22" fmla="*/ 92 w 328"/>
                <a:gd name="T23" fmla="*/ 39 h 300"/>
                <a:gd name="T24" fmla="*/ 97 w 328"/>
                <a:gd name="T25" fmla="*/ 17 h 300"/>
                <a:gd name="T26" fmla="*/ 75 w 328"/>
                <a:gd name="T27" fmla="*/ 12 h 300"/>
                <a:gd name="T28" fmla="*/ 70 w 328"/>
                <a:gd name="T29" fmla="*/ 34 h 300"/>
                <a:gd name="T30" fmla="*/ 91 w 328"/>
                <a:gd name="T31" fmla="*/ 21 h 300"/>
                <a:gd name="T32" fmla="*/ 88 w 328"/>
                <a:gd name="T33" fmla="*/ 33 h 300"/>
                <a:gd name="T34" fmla="*/ 76 w 328"/>
                <a:gd name="T35" fmla="*/ 30 h 300"/>
                <a:gd name="T36" fmla="*/ 79 w 328"/>
                <a:gd name="T37" fmla="*/ 18 h 300"/>
                <a:gd name="T38" fmla="*/ 91 w 328"/>
                <a:gd name="T39" fmla="*/ 21 h 300"/>
                <a:gd name="T40" fmla="*/ 231 w 328"/>
                <a:gd name="T41" fmla="*/ 283 h 300"/>
                <a:gd name="T42" fmla="*/ 253 w 328"/>
                <a:gd name="T43" fmla="*/ 288 h 300"/>
                <a:gd name="T44" fmla="*/ 258 w 328"/>
                <a:gd name="T45" fmla="*/ 266 h 300"/>
                <a:gd name="T46" fmla="*/ 236 w 328"/>
                <a:gd name="T47" fmla="*/ 262 h 300"/>
                <a:gd name="T48" fmla="*/ 231 w 328"/>
                <a:gd name="T49" fmla="*/ 283 h 300"/>
                <a:gd name="T50" fmla="*/ 252 w 328"/>
                <a:gd name="T51" fmla="*/ 270 h 300"/>
                <a:gd name="T52" fmla="*/ 249 w 328"/>
                <a:gd name="T53" fmla="*/ 282 h 300"/>
                <a:gd name="T54" fmla="*/ 237 w 328"/>
                <a:gd name="T55" fmla="*/ 280 h 300"/>
                <a:gd name="T56" fmla="*/ 240 w 328"/>
                <a:gd name="T57" fmla="*/ 267 h 300"/>
                <a:gd name="T58" fmla="*/ 252 w 328"/>
                <a:gd name="T59" fmla="*/ 270 h 300"/>
                <a:gd name="T60" fmla="*/ 104 w 328"/>
                <a:gd name="T61" fmla="*/ 268 h 300"/>
                <a:gd name="T62" fmla="*/ 83 w 328"/>
                <a:gd name="T63" fmla="*/ 275 h 300"/>
                <a:gd name="T64" fmla="*/ 89 w 328"/>
                <a:gd name="T65" fmla="*/ 296 h 300"/>
                <a:gd name="T66" fmla="*/ 110 w 328"/>
                <a:gd name="T67" fmla="*/ 289 h 300"/>
                <a:gd name="T68" fmla="*/ 104 w 328"/>
                <a:gd name="T69" fmla="*/ 268 h 300"/>
                <a:gd name="T70" fmla="*/ 92 w 328"/>
                <a:gd name="T71" fmla="*/ 290 h 300"/>
                <a:gd name="T72" fmla="*/ 88 w 328"/>
                <a:gd name="T73" fmla="*/ 278 h 300"/>
                <a:gd name="T74" fmla="*/ 101 w 328"/>
                <a:gd name="T75" fmla="*/ 274 h 300"/>
                <a:gd name="T76" fmla="*/ 104 w 328"/>
                <a:gd name="T77" fmla="*/ 286 h 300"/>
                <a:gd name="T78" fmla="*/ 92 w 328"/>
                <a:gd name="T79" fmla="*/ 290 h 300"/>
                <a:gd name="T80" fmla="*/ 224 w 328"/>
                <a:gd name="T81" fmla="*/ 32 h 300"/>
                <a:gd name="T82" fmla="*/ 245 w 328"/>
                <a:gd name="T83" fmla="*/ 25 h 300"/>
                <a:gd name="T84" fmla="*/ 239 w 328"/>
                <a:gd name="T85" fmla="*/ 4 h 300"/>
                <a:gd name="T86" fmla="*/ 218 w 328"/>
                <a:gd name="T87" fmla="*/ 11 h 300"/>
                <a:gd name="T88" fmla="*/ 224 w 328"/>
                <a:gd name="T89" fmla="*/ 32 h 300"/>
                <a:gd name="T90" fmla="*/ 236 w 328"/>
                <a:gd name="T91" fmla="*/ 10 h 300"/>
                <a:gd name="T92" fmla="*/ 240 w 328"/>
                <a:gd name="T93" fmla="*/ 22 h 300"/>
                <a:gd name="T94" fmla="*/ 227 w 328"/>
                <a:gd name="T95" fmla="*/ 26 h 300"/>
                <a:gd name="T96" fmla="*/ 224 w 328"/>
                <a:gd name="T97" fmla="*/ 14 h 300"/>
                <a:gd name="T98" fmla="*/ 236 w 328"/>
                <a:gd name="T99" fmla="*/ 10 h 300"/>
                <a:gd name="T100" fmla="*/ 297 w 328"/>
                <a:gd name="T101" fmla="*/ 143 h 300"/>
                <a:gd name="T102" fmla="*/ 313 w 328"/>
                <a:gd name="T103" fmla="*/ 158 h 300"/>
                <a:gd name="T104" fmla="*/ 328 w 328"/>
                <a:gd name="T105" fmla="*/ 142 h 300"/>
                <a:gd name="T106" fmla="*/ 312 w 328"/>
                <a:gd name="T107" fmla="*/ 127 h 300"/>
                <a:gd name="T108" fmla="*/ 297 w 328"/>
                <a:gd name="T109" fmla="*/ 143 h 300"/>
                <a:gd name="T110" fmla="*/ 312 w 328"/>
                <a:gd name="T111" fmla="*/ 134 h 300"/>
                <a:gd name="T112" fmla="*/ 321 w 328"/>
                <a:gd name="T113" fmla="*/ 142 h 300"/>
                <a:gd name="T114" fmla="*/ 313 w 328"/>
                <a:gd name="T115" fmla="*/ 152 h 300"/>
                <a:gd name="T116" fmla="*/ 303 w 328"/>
                <a:gd name="T117" fmla="*/ 143 h 300"/>
                <a:gd name="T118" fmla="*/ 312 w 328"/>
                <a:gd name="T119" fmla="*/ 13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28" h="300">
                  <a:moveTo>
                    <a:pt x="31" y="157"/>
                  </a:moveTo>
                  <a:cubicBezTo>
                    <a:pt x="31" y="148"/>
                    <a:pt x="24" y="142"/>
                    <a:pt x="15" y="142"/>
                  </a:cubicBezTo>
                  <a:cubicBezTo>
                    <a:pt x="7" y="142"/>
                    <a:pt x="0" y="149"/>
                    <a:pt x="0" y="158"/>
                  </a:cubicBezTo>
                  <a:cubicBezTo>
                    <a:pt x="1" y="167"/>
                    <a:pt x="8" y="173"/>
                    <a:pt x="16" y="173"/>
                  </a:cubicBezTo>
                  <a:cubicBezTo>
                    <a:pt x="25" y="173"/>
                    <a:pt x="32" y="166"/>
                    <a:pt x="31" y="157"/>
                  </a:cubicBezTo>
                  <a:close/>
                  <a:moveTo>
                    <a:pt x="16" y="167"/>
                  </a:moveTo>
                  <a:cubicBezTo>
                    <a:pt x="11" y="167"/>
                    <a:pt x="7" y="163"/>
                    <a:pt x="7" y="158"/>
                  </a:cubicBezTo>
                  <a:cubicBezTo>
                    <a:pt x="7" y="153"/>
                    <a:pt x="10" y="149"/>
                    <a:pt x="15" y="148"/>
                  </a:cubicBezTo>
                  <a:cubicBezTo>
                    <a:pt x="20" y="148"/>
                    <a:pt x="25" y="152"/>
                    <a:pt x="25" y="157"/>
                  </a:cubicBezTo>
                  <a:cubicBezTo>
                    <a:pt x="25" y="162"/>
                    <a:pt x="21" y="166"/>
                    <a:pt x="16" y="167"/>
                  </a:cubicBezTo>
                  <a:close/>
                  <a:moveTo>
                    <a:pt x="70" y="34"/>
                  </a:moveTo>
                  <a:cubicBezTo>
                    <a:pt x="75" y="41"/>
                    <a:pt x="84" y="43"/>
                    <a:pt x="92" y="39"/>
                  </a:cubicBezTo>
                  <a:cubicBezTo>
                    <a:pt x="99" y="34"/>
                    <a:pt x="101" y="24"/>
                    <a:pt x="97" y="17"/>
                  </a:cubicBezTo>
                  <a:cubicBezTo>
                    <a:pt x="92" y="10"/>
                    <a:pt x="82" y="8"/>
                    <a:pt x="75" y="12"/>
                  </a:cubicBezTo>
                  <a:cubicBezTo>
                    <a:pt x="68" y="17"/>
                    <a:pt x="66" y="26"/>
                    <a:pt x="70" y="34"/>
                  </a:cubicBezTo>
                  <a:close/>
                  <a:moveTo>
                    <a:pt x="91" y="21"/>
                  </a:moveTo>
                  <a:cubicBezTo>
                    <a:pt x="94" y="25"/>
                    <a:pt x="93" y="30"/>
                    <a:pt x="88" y="33"/>
                  </a:cubicBezTo>
                  <a:cubicBezTo>
                    <a:pt x="84" y="36"/>
                    <a:pt x="78" y="34"/>
                    <a:pt x="76" y="30"/>
                  </a:cubicBezTo>
                  <a:cubicBezTo>
                    <a:pt x="73" y="26"/>
                    <a:pt x="74" y="20"/>
                    <a:pt x="79" y="18"/>
                  </a:cubicBezTo>
                  <a:cubicBezTo>
                    <a:pt x="83" y="15"/>
                    <a:pt x="88" y="16"/>
                    <a:pt x="91" y="21"/>
                  </a:cubicBezTo>
                  <a:close/>
                  <a:moveTo>
                    <a:pt x="231" y="283"/>
                  </a:moveTo>
                  <a:cubicBezTo>
                    <a:pt x="236" y="290"/>
                    <a:pt x="246" y="292"/>
                    <a:pt x="253" y="288"/>
                  </a:cubicBezTo>
                  <a:cubicBezTo>
                    <a:pt x="260" y="283"/>
                    <a:pt x="262" y="274"/>
                    <a:pt x="258" y="266"/>
                  </a:cubicBezTo>
                  <a:cubicBezTo>
                    <a:pt x="253" y="259"/>
                    <a:pt x="244" y="257"/>
                    <a:pt x="236" y="262"/>
                  </a:cubicBezTo>
                  <a:cubicBezTo>
                    <a:pt x="229" y="266"/>
                    <a:pt x="227" y="276"/>
                    <a:pt x="231" y="283"/>
                  </a:cubicBezTo>
                  <a:close/>
                  <a:moveTo>
                    <a:pt x="252" y="270"/>
                  </a:moveTo>
                  <a:cubicBezTo>
                    <a:pt x="255" y="274"/>
                    <a:pt x="254" y="280"/>
                    <a:pt x="249" y="282"/>
                  </a:cubicBezTo>
                  <a:cubicBezTo>
                    <a:pt x="245" y="285"/>
                    <a:pt x="240" y="284"/>
                    <a:pt x="237" y="280"/>
                  </a:cubicBezTo>
                  <a:cubicBezTo>
                    <a:pt x="234" y="275"/>
                    <a:pt x="235" y="270"/>
                    <a:pt x="240" y="267"/>
                  </a:cubicBezTo>
                  <a:cubicBezTo>
                    <a:pt x="244" y="264"/>
                    <a:pt x="250" y="266"/>
                    <a:pt x="252" y="270"/>
                  </a:cubicBezTo>
                  <a:close/>
                  <a:moveTo>
                    <a:pt x="104" y="268"/>
                  </a:moveTo>
                  <a:cubicBezTo>
                    <a:pt x="96" y="264"/>
                    <a:pt x="87" y="267"/>
                    <a:pt x="83" y="275"/>
                  </a:cubicBezTo>
                  <a:cubicBezTo>
                    <a:pt x="79" y="282"/>
                    <a:pt x="81" y="292"/>
                    <a:pt x="89" y="296"/>
                  </a:cubicBezTo>
                  <a:cubicBezTo>
                    <a:pt x="97" y="300"/>
                    <a:pt x="106" y="297"/>
                    <a:pt x="110" y="289"/>
                  </a:cubicBezTo>
                  <a:cubicBezTo>
                    <a:pt x="114" y="282"/>
                    <a:pt x="111" y="272"/>
                    <a:pt x="104" y="268"/>
                  </a:cubicBezTo>
                  <a:close/>
                  <a:moveTo>
                    <a:pt x="92" y="290"/>
                  </a:moveTo>
                  <a:cubicBezTo>
                    <a:pt x="88" y="288"/>
                    <a:pt x="86" y="282"/>
                    <a:pt x="88" y="278"/>
                  </a:cubicBezTo>
                  <a:cubicBezTo>
                    <a:pt x="91" y="273"/>
                    <a:pt x="96" y="272"/>
                    <a:pt x="101" y="274"/>
                  </a:cubicBezTo>
                  <a:cubicBezTo>
                    <a:pt x="105" y="276"/>
                    <a:pt x="107" y="282"/>
                    <a:pt x="104" y="286"/>
                  </a:cubicBezTo>
                  <a:cubicBezTo>
                    <a:pt x="102" y="291"/>
                    <a:pt x="97" y="293"/>
                    <a:pt x="92" y="290"/>
                  </a:cubicBezTo>
                  <a:close/>
                  <a:moveTo>
                    <a:pt x="224" y="32"/>
                  </a:moveTo>
                  <a:cubicBezTo>
                    <a:pt x="232" y="36"/>
                    <a:pt x="241" y="33"/>
                    <a:pt x="245" y="25"/>
                  </a:cubicBezTo>
                  <a:cubicBezTo>
                    <a:pt x="249" y="18"/>
                    <a:pt x="247" y="8"/>
                    <a:pt x="239" y="4"/>
                  </a:cubicBezTo>
                  <a:cubicBezTo>
                    <a:pt x="231" y="0"/>
                    <a:pt x="222" y="3"/>
                    <a:pt x="218" y="11"/>
                  </a:cubicBezTo>
                  <a:cubicBezTo>
                    <a:pt x="214" y="18"/>
                    <a:pt x="217" y="28"/>
                    <a:pt x="224" y="32"/>
                  </a:cubicBezTo>
                  <a:close/>
                  <a:moveTo>
                    <a:pt x="236" y="10"/>
                  </a:moveTo>
                  <a:cubicBezTo>
                    <a:pt x="240" y="12"/>
                    <a:pt x="242" y="18"/>
                    <a:pt x="240" y="22"/>
                  </a:cubicBezTo>
                  <a:cubicBezTo>
                    <a:pt x="237" y="27"/>
                    <a:pt x="232" y="28"/>
                    <a:pt x="227" y="26"/>
                  </a:cubicBezTo>
                  <a:cubicBezTo>
                    <a:pt x="223" y="24"/>
                    <a:pt x="221" y="18"/>
                    <a:pt x="224" y="14"/>
                  </a:cubicBezTo>
                  <a:cubicBezTo>
                    <a:pt x="226" y="9"/>
                    <a:pt x="231" y="8"/>
                    <a:pt x="236" y="10"/>
                  </a:cubicBezTo>
                  <a:close/>
                  <a:moveTo>
                    <a:pt x="297" y="143"/>
                  </a:moveTo>
                  <a:cubicBezTo>
                    <a:pt x="297" y="152"/>
                    <a:pt x="304" y="158"/>
                    <a:pt x="313" y="158"/>
                  </a:cubicBezTo>
                  <a:cubicBezTo>
                    <a:pt x="321" y="158"/>
                    <a:pt x="328" y="151"/>
                    <a:pt x="328" y="142"/>
                  </a:cubicBezTo>
                  <a:cubicBezTo>
                    <a:pt x="327" y="133"/>
                    <a:pt x="320" y="127"/>
                    <a:pt x="312" y="127"/>
                  </a:cubicBezTo>
                  <a:cubicBezTo>
                    <a:pt x="303" y="127"/>
                    <a:pt x="296" y="135"/>
                    <a:pt x="297" y="143"/>
                  </a:cubicBezTo>
                  <a:close/>
                  <a:moveTo>
                    <a:pt x="312" y="134"/>
                  </a:moveTo>
                  <a:cubicBezTo>
                    <a:pt x="317" y="133"/>
                    <a:pt x="321" y="137"/>
                    <a:pt x="321" y="142"/>
                  </a:cubicBezTo>
                  <a:cubicBezTo>
                    <a:pt x="321" y="147"/>
                    <a:pt x="318" y="151"/>
                    <a:pt x="313" y="152"/>
                  </a:cubicBezTo>
                  <a:cubicBezTo>
                    <a:pt x="308" y="152"/>
                    <a:pt x="303" y="148"/>
                    <a:pt x="303" y="143"/>
                  </a:cubicBezTo>
                  <a:cubicBezTo>
                    <a:pt x="303" y="138"/>
                    <a:pt x="307" y="134"/>
                    <a:pt x="312" y="1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IN" sz="1798" kern="0">
                <a:solidFill>
                  <a:srgbClr val="FFFFFF"/>
                </a:solidFill>
              </a:endParaRPr>
            </a:p>
          </p:txBody>
        </p:sp>
      </p:grpSp>
      <p:sp>
        <p:nvSpPr>
          <p:cNvPr id="14" name="Freeform 13"/>
          <p:cNvSpPr>
            <a:spLocks noEditPoints="1"/>
          </p:cNvSpPr>
          <p:nvPr userDrawn="1"/>
        </p:nvSpPr>
        <p:spPr bwMode="auto">
          <a:xfrm>
            <a:off x="9513470" y="2846810"/>
            <a:ext cx="560407" cy="562924"/>
          </a:xfrm>
          <a:custGeom>
            <a:avLst/>
            <a:gdLst>
              <a:gd name="T0" fmla="*/ 21 w 317"/>
              <a:gd name="T1" fmla="*/ 79 h 318"/>
              <a:gd name="T2" fmla="*/ 5 w 317"/>
              <a:gd name="T3" fmla="*/ 116 h 318"/>
              <a:gd name="T4" fmla="*/ 15 w 317"/>
              <a:gd name="T5" fmla="*/ 159 h 318"/>
              <a:gd name="T6" fmla="*/ 16 w 317"/>
              <a:gd name="T7" fmla="*/ 179 h 318"/>
              <a:gd name="T8" fmla="*/ 13 w 317"/>
              <a:gd name="T9" fmla="*/ 223 h 318"/>
              <a:gd name="T10" fmla="*/ 34 w 317"/>
              <a:gd name="T11" fmla="*/ 257 h 318"/>
              <a:gd name="T12" fmla="*/ 63 w 317"/>
              <a:gd name="T13" fmla="*/ 286 h 318"/>
              <a:gd name="T14" fmla="*/ 106 w 317"/>
              <a:gd name="T15" fmla="*/ 292 h 318"/>
              <a:gd name="T16" fmla="*/ 126 w 317"/>
              <a:gd name="T17" fmla="*/ 299 h 318"/>
              <a:gd name="T18" fmla="*/ 165 w 317"/>
              <a:gd name="T19" fmla="*/ 318 h 318"/>
              <a:gd name="T20" fmla="*/ 205 w 317"/>
              <a:gd name="T21" fmla="*/ 311 h 318"/>
              <a:gd name="T22" fmla="*/ 242 w 317"/>
              <a:gd name="T23" fmla="*/ 294 h 318"/>
              <a:gd name="T24" fmla="*/ 264 w 317"/>
              <a:gd name="T25" fmla="*/ 256 h 318"/>
              <a:gd name="T26" fmla="*/ 277 w 317"/>
              <a:gd name="T27" fmla="*/ 240 h 318"/>
              <a:gd name="T28" fmla="*/ 306 w 317"/>
              <a:gd name="T29" fmla="*/ 217 h 318"/>
              <a:gd name="T30" fmla="*/ 316 w 317"/>
              <a:gd name="T31" fmla="*/ 178 h 318"/>
              <a:gd name="T32" fmla="*/ 301 w 317"/>
              <a:gd name="T33" fmla="*/ 137 h 318"/>
              <a:gd name="T34" fmla="*/ 296 w 317"/>
              <a:gd name="T35" fmla="*/ 117 h 318"/>
              <a:gd name="T36" fmla="*/ 293 w 317"/>
              <a:gd name="T37" fmla="*/ 74 h 318"/>
              <a:gd name="T38" fmla="*/ 267 w 317"/>
              <a:gd name="T39" fmla="*/ 43 h 318"/>
              <a:gd name="T40" fmla="*/ 231 w 317"/>
              <a:gd name="T41" fmla="*/ 34 h 318"/>
              <a:gd name="T42" fmla="*/ 212 w 317"/>
              <a:gd name="T43" fmla="*/ 25 h 318"/>
              <a:gd name="T44" fmla="*/ 176 w 317"/>
              <a:gd name="T45" fmla="*/ 1 h 318"/>
              <a:gd name="T46" fmla="*/ 135 w 317"/>
              <a:gd name="T47" fmla="*/ 1 h 318"/>
              <a:gd name="T48" fmla="*/ 96 w 317"/>
              <a:gd name="T49" fmla="*/ 12 h 318"/>
              <a:gd name="T50" fmla="*/ 69 w 317"/>
              <a:gd name="T51" fmla="*/ 46 h 318"/>
              <a:gd name="T52" fmla="*/ 54 w 317"/>
              <a:gd name="T53" fmla="*/ 60 h 318"/>
              <a:gd name="T54" fmla="*/ 44 w 317"/>
              <a:gd name="T55" fmla="*/ 156 h 318"/>
              <a:gd name="T56" fmla="*/ 170 w 317"/>
              <a:gd name="T57" fmla="*/ 142 h 318"/>
              <a:gd name="T58" fmla="*/ 123 w 317"/>
              <a:gd name="T59" fmla="*/ 179 h 318"/>
              <a:gd name="T60" fmla="*/ 123 w 317"/>
              <a:gd name="T61" fmla="*/ 179 h 318"/>
              <a:gd name="T62" fmla="*/ 124 w 317"/>
              <a:gd name="T63" fmla="*/ 255 h 318"/>
              <a:gd name="T64" fmla="*/ 166 w 317"/>
              <a:gd name="T65" fmla="*/ 199 h 318"/>
              <a:gd name="T66" fmla="*/ 177 w 317"/>
              <a:gd name="T67" fmla="*/ 195 h 318"/>
              <a:gd name="T68" fmla="*/ 177 w 317"/>
              <a:gd name="T69" fmla="*/ 195 h 318"/>
              <a:gd name="T70" fmla="*/ 246 w 317"/>
              <a:gd name="T71" fmla="*/ 212 h 318"/>
              <a:gd name="T72" fmla="*/ 243 w 317"/>
              <a:gd name="T73" fmla="*/ 101 h 318"/>
              <a:gd name="T74" fmla="*/ 181 w 317"/>
              <a:gd name="T75" fmla="*/ 125 h 318"/>
              <a:gd name="T76" fmla="*/ 187 w 317"/>
              <a:gd name="T77" fmla="*/ 130 h 318"/>
              <a:gd name="T78" fmla="*/ 182 w 317"/>
              <a:gd name="T79" fmla="*/ 60 h 318"/>
              <a:gd name="T80" fmla="*/ 78 w 317"/>
              <a:gd name="T81" fmla="*/ 97 h 318"/>
              <a:gd name="T82" fmla="*/ 118 w 317"/>
              <a:gd name="T83" fmla="*/ 154 h 318"/>
              <a:gd name="T84" fmla="*/ 34 w 317"/>
              <a:gd name="T85" fmla="*/ 168 h 318"/>
              <a:gd name="T86" fmla="*/ 34 w 317"/>
              <a:gd name="T87" fmla="*/ 168 h 318"/>
              <a:gd name="T88" fmla="*/ 120 w 317"/>
              <a:gd name="T89" fmla="*/ 267 h 318"/>
              <a:gd name="T90" fmla="*/ 132 w 317"/>
              <a:gd name="T91" fmla="*/ 270 h 318"/>
              <a:gd name="T92" fmla="*/ 205 w 317"/>
              <a:gd name="T93" fmla="*/ 274 h 318"/>
              <a:gd name="T94" fmla="*/ 205 w 317"/>
              <a:gd name="T95" fmla="*/ 274 h 318"/>
              <a:gd name="T96" fmla="*/ 283 w 317"/>
              <a:gd name="T97" fmla="*/ 161 h 318"/>
              <a:gd name="T98" fmla="*/ 252 w 317"/>
              <a:gd name="T99" fmla="*/ 94 h 318"/>
              <a:gd name="T100" fmla="*/ 254 w 317"/>
              <a:gd name="T101" fmla="*/ 78 h 318"/>
              <a:gd name="T102" fmla="*/ 229 w 317"/>
              <a:gd name="T103" fmla="*/ 56 h 318"/>
              <a:gd name="T104" fmla="*/ 122 w 317"/>
              <a:gd name="T105" fmla="*/ 40 h 318"/>
              <a:gd name="T106" fmla="*/ 68 w 317"/>
              <a:gd name="T107" fmla="*/ 90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17" h="318">
                <a:moveTo>
                  <a:pt x="40" y="77"/>
                </a:moveTo>
                <a:cubicBezTo>
                  <a:pt x="40" y="77"/>
                  <a:pt x="40" y="78"/>
                  <a:pt x="40" y="78"/>
                </a:cubicBezTo>
                <a:cubicBezTo>
                  <a:pt x="25" y="73"/>
                  <a:pt x="25" y="73"/>
                  <a:pt x="25" y="73"/>
                </a:cubicBezTo>
                <a:cubicBezTo>
                  <a:pt x="21" y="79"/>
                  <a:pt x="21" y="79"/>
                  <a:pt x="21" y="79"/>
                </a:cubicBezTo>
                <a:cubicBezTo>
                  <a:pt x="18" y="85"/>
                  <a:pt x="18" y="85"/>
                  <a:pt x="18" y="85"/>
                </a:cubicBezTo>
                <a:cubicBezTo>
                  <a:pt x="29" y="96"/>
                  <a:pt x="29" y="96"/>
                  <a:pt x="29" y="96"/>
                </a:cubicBezTo>
                <a:cubicBezTo>
                  <a:pt x="26" y="102"/>
                  <a:pt x="23" y="109"/>
                  <a:pt x="21" y="116"/>
                </a:cubicBezTo>
                <a:cubicBezTo>
                  <a:pt x="5" y="116"/>
                  <a:pt x="5" y="116"/>
                  <a:pt x="5" y="116"/>
                </a:cubicBezTo>
                <a:cubicBezTo>
                  <a:pt x="4" y="123"/>
                  <a:pt x="4" y="123"/>
                  <a:pt x="4" y="123"/>
                </a:cubicBezTo>
                <a:cubicBezTo>
                  <a:pt x="2" y="129"/>
                  <a:pt x="2" y="129"/>
                  <a:pt x="2" y="129"/>
                </a:cubicBezTo>
                <a:cubicBezTo>
                  <a:pt x="17" y="137"/>
                  <a:pt x="17" y="137"/>
                  <a:pt x="17" y="137"/>
                </a:cubicBezTo>
                <a:cubicBezTo>
                  <a:pt x="15" y="144"/>
                  <a:pt x="15" y="151"/>
                  <a:pt x="15" y="159"/>
                </a:cubicBezTo>
                <a:cubicBezTo>
                  <a:pt x="0" y="163"/>
                  <a:pt x="0" y="163"/>
                  <a:pt x="0" y="163"/>
                </a:cubicBezTo>
                <a:cubicBezTo>
                  <a:pt x="0" y="170"/>
                  <a:pt x="0" y="170"/>
                  <a:pt x="0" y="170"/>
                </a:cubicBezTo>
                <a:cubicBezTo>
                  <a:pt x="1" y="177"/>
                  <a:pt x="1" y="177"/>
                  <a:pt x="1" y="177"/>
                </a:cubicBezTo>
                <a:cubicBezTo>
                  <a:pt x="16" y="179"/>
                  <a:pt x="16" y="179"/>
                  <a:pt x="16" y="179"/>
                </a:cubicBezTo>
                <a:cubicBezTo>
                  <a:pt x="17" y="187"/>
                  <a:pt x="19" y="194"/>
                  <a:pt x="21" y="201"/>
                </a:cubicBezTo>
                <a:cubicBezTo>
                  <a:pt x="8" y="210"/>
                  <a:pt x="8" y="210"/>
                  <a:pt x="8" y="210"/>
                </a:cubicBezTo>
                <a:cubicBezTo>
                  <a:pt x="11" y="216"/>
                  <a:pt x="11" y="216"/>
                  <a:pt x="11" y="216"/>
                </a:cubicBezTo>
                <a:cubicBezTo>
                  <a:pt x="13" y="223"/>
                  <a:pt x="13" y="223"/>
                  <a:pt x="13" y="223"/>
                </a:cubicBezTo>
                <a:cubicBezTo>
                  <a:pt x="29" y="220"/>
                  <a:pt x="29" y="220"/>
                  <a:pt x="29" y="220"/>
                </a:cubicBezTo>
                <a:cubicBezTo>
                  <a:pt x="32" y="227"/>
                  <a:pt x="36" y="233"/>
                  <a:pt x="40" y="240"/>
                </a:cubicBezTo>
                <a:cubicBezTo>
                  <a:pt x="30" y="252"/>
                  <a:pt x="30" y="252"/>
                  <a:pt x="30" y="252"/>
                </a:cubicBezTo>
                <a:cubicBezTo>
                  <a:pt x="34" y="257"/>
                  <a:pt x="34" y="257"/>
                  <a:pt x="34" y="257"/>
                </a:cubicBezTo>
                <a:cubicBezTo>
                  <a:pt x="38" y="263"/>
                  <a:pt x="38" y="263"/>
                  <a:pt x="38" y="263"/>
                </a:cubicBezTo>
                <a:cubicBezTo>
                  <a:pt x="53" y="256"/>
                  <a:pt x="53" y="256"/>
                  <a:pt x="53" y="256"/>
                </a:cubicBezTo>
                <a:cubicBezTo>
                  <a:pt x="58" y="261"/>
                  <a:pt x="63" y="266"/>
                  <a:pt x="69" y="271"/>
                </a:cubicBezTo>
                <a:cubicBezTo>
                  <a:pt x="63" y="286"/>
                  <a:pt x="63" y="286"/>
                  <a:pt x="63" y="286"/>
                </a:cubicBezTo>
                <a:cubicBezTo>
                  <a:pt x="69" y="290"/>
                  <a:pt x="69" y="290"/>
                  <a:pt x="69" y="290"/>
                </a:cubicBezTo>
                <a:cubicBezTo>
                  <a:pt x="74" y="293"/>
                  <a:pt x="74" y="293"/>
                  <a:pt x="74" y="293"/>
                </a:cubicBezTo>
                <a:cubicBezTo>
                  <a:pt x="86" y="283"/>
                  <a:pt x="86" y="283"/>
                  <a:pt x="86" y="283"/>
                </a:cubicBezTo>
                <a:cubicBezTo>
                  <a:pt x="93" y="287"/>
                  <a:pt x="99" y="290"/>
                  <a:pt x="106" y="292"/>
                </a:cubicBezTo>
                <a:cubicBezTo>
                  <a:pt x="105" y="308"/>
                  <a:pt x="105" y="308"/>
                  <a:pt x="105" y="308"/>
                </a:cubicBezTo>
                <a:cubicBezTo>
                  <a:pt x="111" y="310"/>
                  <a:pt x="111" y="310"/>
                  <a:pt x="111" y="310"/>
                </a:cubicBezTo>
                <a:cubicBezTo>
                  <a:pt x="118" y="312"/>
                  <a:pt x="118" y="312"/>
                  <a:pt x="118" y="312"/>
                </a:cubicBezTo>
                <a:cubicBezTo>
                  <a:pt x="126" y="299"/>
                  <a:pt x="126" y="299"/>
                  <a:pt x="126" y="299"/>
                </a:cubicBezTo>
                <a:cubicBezTo>
                  <a:pt x="133" y="300"/>
                  <a:pt x="140" y="301"/>
                  <a:pt x="148" y="302"/>
                </a:cubicBezTo>
                <a:cubicBezTo>
                  <a:pt x="151" y="318"/>
                  <a:pt x="151" y="318"/>
                  <a:pt x="151" y="318"/>
                </a:cubicBezTo>
                <a:cubicBezTo>
                  <a:pt x="158" y="318"/>
                  <a:pt x="158" y="318"/>
                  <a:pt x="158" y="318"/>
                </a:cubicBezTo>
                <a:cubicBezTo>
                  <a:pt x="165" y="318"/>
                  <a:pt x="165" y="318"/>
                  <a:pt x="165" y="318"/>
                </a:cubicBezTo>
                <a:cubicBezTo>
                  <a:pt x="169" y="302"/>
                  <a:pt x="169" y="302"/>
                  <a:pt x="169" y="302"/>
                </a:cubicBezTo>
                <a:cubicBezTo>
                  <a:pt x="176" y="301"/>
                  <a:pt x="183" y="300"/>
                  <a:pt x="190" y="299"/>
                </a:cubicBezTo>
                <a:cubicBezTo>
                  <a:pt x="199" y="313"/>
                  <a:pt x="199" y="313"/>
                  <a:pt x="199" y="313"/>
                </a:cubicBezTo>
                <a:cubicBezTo>
                  <a:pt x="205" y="311"/>
                  <a:pt x="205" y="311"/>
                  <a:pt x="205" y="311"/>
                </a:cubicBezTo>
                <a:cubicBezTo>
                  <a:pt x="211" y="309"/>
                  <a:pt x="211" y="309"/>
                  <a:pt x="211" y="309"/>
                </a:cubicBezTo>
                <a:cubicBezTo>
                  <a:pt x="210" y="293"/>
                  <a:pt x="210" y="293"/>
                  <a:pt x="210" y="293"/>
                </a:cubicBezTo>
                <a:cubicBezTo>
                  <a:pt x="217" y="290"/>
                  <a:pt x="224" y="287"/>
                  <a:pt x="230" y="283"/>
                </a:cubicBezTo>
                <a:cubicBezTo>
                  <a:pt x="242" y="294"/>
                  <a:pt x="242" y="294"/>
                  <a:pt x="242" y="294"/>
                </a:cubicBezTo>
                <a:cubicBezTo>
                  <a:pt x="248" y="290"/>
                  <a:pt x="248" y="290"/>
                  <a:pt x="248" y="290"/>
                </a:cubicBezTo>
                <a:cubicBezTo>
                  <a:pt x="253" y="286"/>
                  <a:pt x="253" y="286"/>
                  <a:pt x="253" y="286"/>
                </a:cubicBezTo>
                <a:cubicBezTo>
                  <a:pt x="248" y="271"/>
                  <a:pt x="248" y="271"/>
                  <a:pt x="248" y="271"/>
                </a:cubicBezTo>
                <a:cubicBezTo>
                  <a:pt x="253" y="267"/>
                  <a:pt x="259" y="262"/>
                  <a:pt x="264" y="256"/>
                </a:cubicBezTo>
                <a:cubicBezTo>
                  <a:pt x="278" y="263"/>
                  <a:pt x="278" y="263"/>
                  <a:pt x="278" y="263"/>
                </a:cubicBezTo>
                <a:cubicBezTo>
                  <a:pt x="282" y="258"/>
                  <a:pt x="282" y="258"/>
                  <a:pt x="282" y="258"/>
                </a:cubicBezTo>
                <a:cubicBezTo>
                  <a:pt x="287" y="253"/>
                  <a:pt x="287" y="253"/>
                  <a:pt x="287" y="253"/>
                </a:cubicBezTo>
                <a:cubicBezTo>
                  <a:pt x="277" y="240"/>
                  <a:pt x="277" y="240"/>
                  <a:pt x="277" y="240"/>
                </a:cubicBezTo>
                <a:cubicBezTo>
                  <a:pt x="277" y="240"/>
                  <a:pt x="277" y="240"/>
                  <a:pt x="277" y="240"/>
                </a:cubicBezTo>
                <a:cubicBezTo>
                  <a:pt x="281" y="234"/>
                  <a:pt x="285" y="228"/>
                  <a:pt x="288" y="221"/>
                </a:cubicBezTo>
                <a:cubicBezTo>
                  <a:pt x="304" y="223"/>
                  <a:pt x="304" y="223"/>
                  <a:pt x="304" y="223"/>
                </a:cubicBezTo>
                <a:cubicBezTo>
                  <a:pt x="306" y="217"/>
                  <a:pt x="306" y="217"/>
                  <a:pt x="306" y="217"/>
                </a:cubicBezTo>
                <a:cubicBezTo>
                  <a:pt x="309" y="211"/>
                  <a:pt x="309" y="211"/>
                  <a:pt x="309" y="211"/>
                </a:cubicBezTo>
                <a:cubicBezTo>
                  <a:pt x="296" y="202"/>
                  <a:pt x="296" y="202"/>
                  <a:pt x="296" y="202"/>
                </a:cubicBezTo>
                <a:cubicBezTo>
                  <a:pt x="298" y="195"/>
                  <a:pt x="300" y="187"/>
                  <a:pt x="301" y="180"/>
                </a:cubicBezTo>
                <a:cubicBezTo>
                  <a:pt x="316" y="178"/>
                  <a:pt x="316" y="178"/>
                  <a:pt x="316" y="178"/>
                </a:cubicBezTo>
                <a:cubicBezTo>
                  <a:pt x="317" y="171"/>
                  <a:pt x="317" y="171"/>
                  <a:pt x="317" y="171"/>
                </a:cubicBezTo>
                <a:cubicBezTo>
                  <a:pt x="317" y="164"/>
                  <a:pt x="317" y="164"/>
                  <a:pt x="317" y="164"/>
                </a:cubicBezTo>
                <a:cubicBezTo>
                  <a:pt x="302" y="159"/>
                  <a:pt x="302" y="159"/>
                  <a:pt x="302" y="159"/>
                </a:cubicBezTo>
                <a:cubicBezTo>
                  <a:pt x="302" y="152"/>
                  <a:pt x="302" y="145"/>
                  <a:pt x="301" y="137"/>
                </a:cubicBezTo>
                <a:cubicBezTo>
                  <a:pt x="315" y="130"/>
                  <a:pt x="315" y="130"/>
                  <a:pt x="315" y="130"/>
                </a:cubicBezTo>
                <a:cubicBezTo>
                  <a:pt x="314" y="124"/>
                  <a:pt x="314" y="124"/>
                  <a:pt x="314" y="124"/>
                </a:cubicBezTo>
                <a:cubicBezTo>
                  <a:pt x="312" y="117"/>
                  <a:pt x="312" y="117"/>
                  <a:pt x="312" y="117"/>
                </a:cubicBezTo>
                <a:cubicBezTo>
                  <a:pt x="296" y="117"/>
                  <a:pt x="296" y="117"/>
                  <a:pt x="296" y="117"/>
                </a:cubicBezTo>
                <a:cubicBezTo>
                  <a:pt x="294" y="110"/>
                  <a:pt x="291" y="103"/>
                  <a:pt x="288" y="96"/>
                </a:cubicBezTo>
                <a:cubicBezTo>
                  <a:pt x="300" y="85"/>
                  <a:pt x="300" y="85"/>
                  <a:pt x="300" y="85"/>
                </a:cubicBezTo>
                <a:cubicBezTo>
                  <a:pt x="296" y="80"/>
                  <a:pt x="296" y="80"/>
                  <a:pt x="296" y="80"/>
                </a:cubicBezTo>
                <a:cubicBezTo>
                  <a:pt x="293" y="74"/>
                  <a:pt x="293" y="74"/>
                  <a:pt x="293" y="74"/>
                </a:cubicBezTo>
                <a:cubicBezTo>
                  <a:pt x="278" y="78"/>
                  <a:pt x="278" y="78"/>
                  <a:pt x="278" y="78"/>
                </a:cubicBezTo>
                <a:cubicBezTo>
                  <a:pt x="274" y="72"/>
                  <a:pt x="269" y="66"/>
                  <a:pt x="264" y="61"/>
                </a:cubicBezTo>
                <a:cubicBezTo>
                  <a:pt x="272" y="47"/>
                  <a:pt x="272" y="47"/>
                  <a:pt x="272" y="47"/>
                </a:cubicBezTo>
                <a:cubicBezTo>
                  <a:pt x="267" y="43"/>
                  <a:pt x="267" y="43"/>
                  <a:pt x="267" y="43"/>
                </a:cubicBezTo>
                <a:cubicBezTo>
                  <a:pt x="262" y="38"/>
                  <a:pt x="262" y="38"/>
                  <a:pt x="262" y="38"/>
                </a:cubicBezTo>
                <a:cubicBezTo>
                  <a:pt x="249" y="47"/>
                  <a:pt x="249" y="47"/>
                  <a:pt x="249" y="47"/>
                </a:cubicBezTo>
                <a:cubicBezTo>
                  <a:pt x="246" y="44"/>
                  <a:pt x="243" y="42"/>
                  <a:pt x="240" y="40"/>
                </a:cubicBezTo>
                <a:cubicBezTo>
                  <a:pt x="237" y="38"/>
                  <a:pt x="234" y="36"/>
                  <a:pt x="231" y="34"/>
                </a:cubicBezTo>
                <a:cubicBezTo>
                  <a:pt x="234" y="19"/>
                  <a:pt x="234" y="19"/>
                  <a:pt x="234" y="19"/>
                </a:cubicBezTo>
                <a:cubicBezTo>
                  <a:pt x="228" y="16"/>
                  <a:pt x="228" y="16"/>
                  <a:pt x="228" y="16"/>
                </a:cubicBezTo>
                <a:cubicBezTo>
                  <a:pt x="222" y="13"/>
                  <a:pt x="222" y="13"/>
                  <a:pt x="222" y="13"/>
                </a:cubicBezTo>
                <a:cubicBezTo>
                  <a:pt x="212" y="25"/>
                  <a:pt x="212" y="25"/>
                  <a:pt x="212" y="25"/>
                </a:cubicBezTo>
                <a:cubicBezTo>
                  <a:pt x="205" y="22"/>
                  <a:pt x="198" y="20"/>
                  <a:pt x="191" y="19"/>
                </a:cubicBezTo>
                <a:cubicBezTo>
                  <a:pt x="189" y="3"/>
                  <a:pt x="189" y="3"/>
                  <a:pt x="189" y="3"/>
                </a:cubicBezTo>
                <a:cubicBezTo>
                  <a:pt x="183" y="2"/>
                  <a:pt x="183" y="2"/>
                  <a:pt x="183" y="2"/>
                </a:cubicBezTo>
                <a:cubicBezTo>
                  <a:pt x="176" y="1"/>
                  <a:pt x="176" y="1"/>
                  <a:pt x="176" y="1"/>
                </a:cubicBezTo>
                <a:cubicBezTo>
                  <a:pt x="170" y="15"/>
                  <a:pt x="170" y="15"/>
                  <a:pt x="170" y="15"/>
                </a:cubicBezTo>
                <a:cubicBezTo>
                  <a:pt x="163" y="15"/>
                  <a:pt x="155" y="15"/>
                  <a:pt x="148" y="15"/>
                </a:cubicBezTo>
                <a:cubicBezTo>
                  <a:pt x="142" y="0"/>
                  <a:pt x="142" y="0"/>
                  <a:pt x="142" y="0"/>
                </a:cubicBezTo>
                <a:cubicBezTo>
                  <a:pt x="135" y="1"/>
                  <a:pt x="135" y="1"/>
                  <a:pt x="135" y="1"/>
                </a:cubicBezTo>
                <a:cubicBezTo>
                  <a:pt x="129" y="2"/>
                  <a:pt x="129" y="2"/>
                  <a:pt x="129" y="2"/>
                </a:cubicBezTo>
                <a:cubicBezTo>
                  <a:pt x="127" y="18"/>
                  <a:pt x="127" y="18"/>
                  <a:pt x="127" y="18"/>
                </a:cubicBezTo>
                <a:cubicBezTo>
                  <a:pt x="120" y="20"/>
                  <a:pt x="113" y="22"/>
                  <a:pt x="106" y="25"/>
                </a:cubicBezTo>
                <a:cubicBezTo>
                  <a:pt x="96" y="12"/>
                  <a:pt x="96" y="12"/>
                  <a:pt x="96" y="12"/>
                </a:cubicBezTo>
                <a:cubicBezTo>
                  <a:pt x="90" y="15"/>
                  <a:pt x="90" y="15"/>
                  <a:pt x="90" y="15"/>
                </a:cubicBezTo>
                <a:cubicBezTo>
                  <a:pt x="84" y="18"/>
                  <a:pt x="84" y="18"/>
                  <a:pt x="84" y="18"/>
                </a:cubicBezTo>
                <a:cubicBezTo>
                  <a:pt x="87" y="34"/>
                  <a:pt x="87" y="34"/>
                  <a:pt x="87" y="34"/>
                </a:cubicBezTo>
                <a:cubicBezTo>
                  <a:pt x="81" y="37"/>
                  <a:pt x="75" y="42"/>
                  <a:pt x="69" y="46"/>
                </a:cubicBezTo>
                <a:cubicBezTo>
                  <a:pt x="56" y="37"/>
                  <a:pt x="56" y="37"/>
                  <a:pt x="56" y="37"/>
                </a:cubicBezTo>
                <a:cubicBezTo>
                  <a:pt x="51" y="42"/>
                  <a:pt x="51" y="42"/>
                  <a:pt x="51" y="42"/>
                </a:cubicBezTo>
                <a:cubicBezTo>
                  <a:pt x="46" y="46"/>
                  <a:pt x="46" y="46"/>
                  <a:pt x="46" y="46"/>
                </a:cubicBezTo>
                <a:cubicBezTo>
                  <a:pt x="54" y="60"/>
                  <a:pt x="54" y="60"/>
                  <a:pt x="54" y="60"/>
                </a:cubicBezTo>
                <a:cubicBezTo>
                  <a:pt x="49" y="66"/>
                  <a:pt x="44" y="71"/>
                  <a:pt x="40" y="77"/>
                </a:cubicBezTo>
                <a:close/>
                <a:moveTo>
                  <a:pt x="52" y="93"/>
                </a:moveTo>
                <a:cubicBezTo>
                  <a:pt x="61" y="99"/>
                  <a:pt x="61" y="99"/>
                  <a:pt x="61" y="99"/>
                </a:cubicBezTo>
                <a:cubicBezTo>
                  <a:pt x="44" y="156"/>
                  <a:pt x="44" y="156"/>
                  <a:pt x="44" y="156"/>
                </a:cubicBezTo>
                <a:cubicBezTo>
                  <a:pt x="34" y="157"/>
                  <a:pt x="34" y="157"/>
                  <a:pt x="34" y="157"/>
                </a:cubicBezTo>
                <a:cubicBezTo>
                  <a:pt x="34" y="135"/>
                  <a:pt x="40" y="113"/>
                  <a:pt x="52" y="93"/>
                </a:cubicBezTo>
                <a:close/>
                <a:moveTo>
                  <a:pt x="142" y="148"/>
                </a:moveTo>
                <a:cubicBezTo>
                  <a:pt x="148" y="138"/>
                  <a:pt x="161" y="136"/>
                  <a:pt x="170" y="142"/>
                </a:cubicBezTo>
                <a:cubicBezTo>
                  <a:pt x="179" y="149"/>
                  <a:pt x="181" y="161"/>
                  <a:pt x="175" y="170"/>
                </a:cubicBezTo>
                <a:cubicBezTo>
                  <a:pt x="169" y="180"/>
                  <a:pt x="156" y="182"/>
                  <a:pt x="147" y="176"/>
                </a:cubicBezTo>
                <a:cubicBezTo>
                  <a:pt x="138" y="169"/>
                  <a:pt x="135" y="157"/>
                  <a:pt x="142" y="148"/>
                </a:cubicBezTo>
                <a:close/>
                <a:moveTo>
                  <a:pt x="123" y="179"/>
                </a:moveTo>
                <a:cubicBezTo>
                  <a:pt x="74" y="216"/>
                  <a:pt x="74" y="216"/>
                  <a:pt x="74" y="216"/>
                </a:cubicBezTo>
                <a:cubicBezTo>
                  <a:pt x="57" y="168"/>
                  <a:pt x="57" y="168"/>
                  <a:pt x="57" y="168"/>
                </a:cubicBezTo>
                <a:cubicBezTo>
                  <a:pt x="118" y="166"/>
                  <a:pt x="118" y="166"/>
                  <a:pt x="118" y="166"/>
                </a:cubicBezTo>
                <a:cubicBezTo>
                  <a:pt x="119" y="170"/>
                  <a:pt x="120" y="175"/>
                  <a:pt x="123" y="179"/>
                </a:cubicBezTo>
                <a:close/>
                <a:moveTo>
                  <a:pt x="130" y="188"/>
                </a:moveTo>
                <a:cubicBezTo>
                  <a:pt x="131" y="190"/>
                  <a:pt x="133" y="191"/>
                  <a:pt x="135" y="193"/>
                </a:cubicBezTo>
                <a:cubicBezTo>
                  <a:pt x="137" y="194"/>
                  <a:pt x="139" y="195"/>
                  <a:pt x="141" y="196"/>
                </a:cubicBezTo>
                <a:cubicBezTo>
                  <a:pt x="124" y="255"/>
                  <a:pt x="124" y="255"/>
                  <a:pt x="124" y="255"/>
                </a:cubicBezTo>
                <a:cubicBezTo>
                  <a:pt x="81" y="226"/>
                  <a:pt x="81" y="226"/>
                  <a:pt x="81" y="226"/>
                </a:cubicBezTo>
                <a:lnTo>
                  <a:pt x="130" y="188"/>
                </a:lnTo>
                <a:close/>
                <a:moveTo>
                  <a:pt x="152" y="199"/>
                </a:moveTo>
                <a:cubicBezTo>
                  <a:pt x="157" y="200"/>
                  <a:pt x="162" y="200"/>
                  <a:pt x="166" y="199"/>
                </a:cubicBezTo>
                <a:cubicBezTo>
                  <a:pt x="187" y="257"/>
                  <a:pt x="187" y="257"/>
                  <a:pt x="187" y="257"/>
                </a:cubicBezTo>
                <a:cubicBezTo>
                  <a:pt x="135" y="258"/>
                  <a:pt x="135" y="258"/>
                  <a:pt x="135" y="258"/>
                </a:cubicBezTo>
                <a:lnTo>
                  <a:pt x="152" y="199"/>
                </a:lnTo>
                <a:close/>
                <a:moveTo>
                  <a:pt x="177" y="195"/>
                </a:moveTo>
                <a:cubicBezTo>
                  <a:pt x="181" y="193"/>
                  <a:pt x="185" y="190"/>
                  <a:pt x="188" y="187"/>
                </a:cubicBezTo>
                <a:cubicBezTo>
                  <a:pt x="239" y="221"/>
                  <a:pt x="239" y="221"/>
                  <a:pt x="239" y="221"/>
                </a:cubicBezTo>
                <a:cubicBezTo>
                  <a:pt x="198" y="253"/>
                  <a:pt x="198" y="253"/>
                  <a:pt x="198" y="253"/>
                </a:cubicBezTo>
                <a:lnTo>
                  <a:pt x="177" y="195"/>
                </a:lnTo>
                <a:close/>
                <a:moveTo>
                  <a:pt x="195" y="177"/>
                </a:moveTo>
                <a:cubicBezTo>
                  <a:pt x="197" y="173"/>
                  <a:pt x="198" y="168"/>
                  <a:pt x="199" y="164"/>
                </a:cubicBezTo>
                <a:cubicBezTo>
                  <a:pt x="260" y="162"/>
                  <a:pt x="260" y="162"/>
                  <a:pt x="260" y="162"/>
                </a:cubicBezTo>
                <a:cubicBezTo>
                  <a:pt x="246" y="212"/>
                  <a:pt x="246" y="212"/>
                  <a:pt x="246" y="212"/>
                </a:cubicBezTo>
                <a:lnTo>
                  <a:pt x="195" y="177"/>
                </a:lnTo>
                <a:close/>
                <a:moveTo>
                  <a:pt x="199" y="152"/>
                </a:moveTo>
                <a:cubicBezTo>
                  <a:pt x="198" y="147"/>
                  <a:pt x="196" y="143"/>
                  <a:pt x="194" y="139"/>
                </a:cubicBezTo>
                <a:cubicBezTo>
                  <a:pt x="243" y="101"/>
                  <a:pt x="243" y="101"/>
                  <a:pt x="243" y="101"/>
                </a:cubicBezTo>
                <a:cubicBezTo>
                  <a:pt x="260" y="150"/>
                  <a:pt x="260" y="150"/>
                  <a:pt x="260" y="150"/>
                </a:cubicBezTo>
                <a:lnTo>
                  <a:pt x="199" y="152"/>
                </a:lnTo>
                <a:close/>
                <a:moveTo>
                  <a:pt x="187" y="130"/>
                </a:moveTo>
                <a:cubicBezTo>
                  <a:pt x="185" y="128"/>
                  <a:pt x="183" y="127"/>
                  <a:pt x="181" y="125"/>
                </a:cubicBezTo>
                <a:cubicBezTo>
                  <a:pt x="180" y="124"/>
                  <a:pt x="177" y="123"/>
                  <a:pt x="175" y="122"/>
                </a:cubicBezTo>
                <a:cubicBezTo>
                  <a:pt x="193" y="63"/>
                  <a:pt x="193" y="63"/>
                  <a:pt x="193" y="63"/>
                </a:cubicBezTo>
                <a:cubicBezTo>
                  <a:pt x="236" y="92"/>
                  <a:pt x="236" y="92"/>
                  <a:pt x="236" y="92"/>
                </a:cubicBezTo>
                <a:lnTo>
                  <a:pt x="187" y="130"/>
                </a:lnTo>
                <a:close/>
                <a:moveTo>
                  <a:pt x="164" y="118"/>
                </a:moveTo>
                <a:cubicBezTo>
                  <a:pt x="160" y="118"/>
                  <a:pt x="155" y="118"/>
                  <a:pt x="150" y="119"/>
                </a:cubicBezTo>
                <a:cubicBezTo>
                  <a:pt x="130" y="61"/>
                  <a:pt x="130" y="61"/>
                  <a:pt x="130" y="61"/>
                </a:cubicBezTo>
                <a:cubicBezTo>
                  <a:pt x="182" y="60"/>
                  <a:pt x="182" y="60"/>
                  <a:pt x="182" y="60"/>
                </a:cubicBezTo>
                <a:lnTo>
                  <a:pt x="164" y="118"/>
                </a:lnTo>
                <a:close/>
                <a:moveTo>
                  <a:pt x="139" y="123"/>
                </a:moveTo>
                <a:cubicBezTo>
                  <a:pt x="135" y="125"/>
                  <a:pt x="131" y="128"/>
                  <a:pt x="128" y="131"/>
                </a:cubicBezTo>
                <a:cubicBezTo>
                  <a:pt x="78" y="97"/>
                  <a:pt x="78" y="97"/>
                  <a:pt x="78" y="97"/>
                </a:cubicBezTo>
                <a:cubicBezTo>
                  <a:pt x="119" y="65"/>
                  <a:pt x="119" y="65"/>
                  <a:pt x="119" y="65"/>
                </a:cubicBezTo>
                <a:lnTo>
                  <a:pt x="139" y="123"/>
                </a:lnTo>
                <a:close/>
                <a:moveTo>
                  <a:pt x="122" y="141"/>
                </a:moveTo>
                <a:cubicBezTo>
                  <a:pt x="120" y="145"/>
                  <a:pt x="118" y="150"/>
                  <a:pt x="118" y="154"/>
                </a:cubicBezTo>
                <a:cubicBezTo>
                  <a:pt x="56" y="156"/>
                  <a:pt x="56" y="156"/>
                  <a:pt x="56" y="156"/>
                </a:cubicBezTo>
                <a:cubicBezTo>
                  <a:pt x="71" y="106"/>
                  <a:pt x="71" y="106"/>
                  <a:pt x="71" y="106"/>
                </a:cubicBezTo>
                <a:lnTo>
                  <a:pt x="122" y="141"/>
                </a:lnTo>
                <a:close/>
                <a:moveTo>
                  <a:pt x="34" y="168"/>
                </a:moveTo>
                <a:cubicBezTo>
                  <a:pt x="44" y="168"/>
                  <a:pt x="44" y="168"/>
                  <a:pt x="44" y="168"/>
                </a:cubicBezTo>
                <a:cubicBezTo>
                  <a:pt x="64" y="224"/>
                  <a:pt x="64" y="224"/>
                  <a:pt x="64" y="224"/>
                </a:cubicBezTo>
                <a:cubicBezTo>
                  <a:pt x="56" y="230"/>
                  <a:pt x="56" y="230"/>
                  <a:pt x="56" y="230"/>
                </a:cubicBezTo>
                <a:cubicBezTo>
                  <a:pt x="43" y="212"/>
                  <a:pt x="36" y="190"/>
                  <a:pt x="34" y="168"/>
                </a:cubicBezTo>
                <a:close/>
                <a:moveTo>
                  <a:pt x="88" y="262"/>
                </a:moveTo>
                <a:cubicBezTo>
                  <a:pt x="78" y="255"/>
                  <a:pt x="70" y="248"/>
                  <a:pt x="63" y="240"/>
                </a:cubicBezTo>
                <a:cubicBezTo>
                  <a:pt x="71" y="233"/>
                  <a:pt x="71" y="233"/>
                  <a:pt x="71" y="233"/>
                </a:cubicBezTo>
                <a:cubicBezTo>
                  <a:pt x="120" y="267"/>
                  <a:pt x="120" y="267"/>
                  <a:pt x="120" y="267"/>
                </a:cubicBezTo>
                <a:cubicBezTo>
                  <a:pt x="117" y="277"/>
                  <a:pt x="117" y="277"/>
                  <a:pt x="117" y="277"/>
                </a:cubicBezTo>
                <a:cubicBezTo>
                  <a:pt x="107" y="273"/>
                  <a:pt x="97" y="268"/>
                  <a:pt x="88" y="262"/>
                </a:cubicBezTo>
                <a:close/>
                <a:moveTo>
                  <a:pt x="129" y="280"/>
                </a:moveTo>
                <a:cubicBezTo>
                  <a:pt x="132" y="270"/>
                  <a:pt x="132" y="270"/>
                  <a:pt x="132" y="270"/>
                </a:cubicBezTo>
                <a:cubicBezTo>
                  <a:pt x="191" y="268"/>
                  <a:pt x="191" y="268"/>
                  <a:pt x="191" y="268"/>
                </a:cubicBezTo>
                <a:cubicBezTo>
                  <a:pt x="195" y="278"/>
                  <a:pt x="195" y="278"/>
                  <a:pt x="195" y="278"/>
                </a:cubicBezTo>
                <a:cubicBezTo>
                  <a:pt x="173" y="285"/>
                  <a:pt x="151" y="285"/>
                  <a:pt x="129" y="280"/>
                </a:cubicBezTo>
                <a:close/>
                <a:moveTo>
                  <a:pt x="205" y="274"/>
                </a:moveTo>
                <a:cubicBezTo>
                  <a:pt x="202" y="265"/>
                  <a:pt x="202" y="265"/>
                  <a:pt x="202" y="265"/>
                </a:cubicBezTo>
                <a:cubicBezTo>
                  <a:pt x="249" y="228"/>
                  <a:pt x="249" y="228"/>
                  <a:pt x="249" y="228"/>
                </a:cubicBezTo>
                <a:cubicBezTo>
                  <a:pt x="258" y="234"/>
                  <a:pt x="258" y="234"/>
                  <a:pt x="258" y="234"/>
                </a:cubicBezTo>
                <a:cubicBezTo>
                  <a:pt x="244" y="253"/>
                  <a:pt x="226" y="266"/>
                  <a:pt x="205" y="274"/>
                </a:cubicBezTo>
                <a:close/>
                <a:moveTo>
                  <a:pt x="264" y="225"/>
                </a:moveTo>
                <a:cubicBezTo>
                  <a:pt x="256" y="219"/>
                  <a:pt x="256" y="219"/>
                  <a:pt x="256" y="219"/>
                </a:cubicBezTo>
                <a:cubicBezTo>
                  <a:pt x="273" y="162"/>
                  <a:pt x="273" y="162"/>
                  <a:pt x="273" y="162"/>
                </a:cubicBezTo>
                <a:cubicBezTo>
                  <a:pt x="283" y="161"/>
                  <a:pt x="283" y="161"/>
                  <a:pt x="283" y="161"/>
                </a:cubicBezTo>
                <a:cubicBezTo>
                  <a:pt x="283" y="183"/>
                  <a:pt x="277" y="205"/>
                  <a:pt x="264" y="225"/>
                </a:cubicBezTo>
                <a:close/>
                <a:moveTo>
                  <a:pt x="283" y="150"/>
                </a:moveTo>
                <a:cubicBezTo>
                  <a:pt x="272" y="150"/>
                  <a:pt x="272" y="150"/>
                  <a:pt x="272" y="150"/>
                </a:cubicBezTo>
                <a:cubicBezTo>
                  <a:pt x="252" y="94"/>
                  <a:pt x="252" y="94"/>
                  <a:pt x="252" y="94"/>
                </a:cubicBezTo>
                <a:cubicBezTo>
                  <a:pt x="261" y="88"/>
                  <a:pt x="261" y="88"/>
                  <a:pt x="261" y="88"/>
                </a:cubicBezTo>
                <a:cubicBezTo>
                  <a:pt x="274" y="106"/>
                  <a:pt x="281" y="128"/>
                  <a:pt x="283" y="150"/>
                </a:cubicBezTo>
                <a:close/>
                <a:moveTo>
                  <a:pt x="229" y="56"/>
                </a:moveTo>
                <a:cubicBezTo>
                  <a:pt x="238" y="63"/>
                  <a:pt x="247" y="70"/>
                  <a:pt x="254" y="78"/>
                </a:cubicBezTo>
                <a:cubicBezTo>
                  <a:pt x="245" y="85"/>
                  <a:pt x="245" y="85"/>
                  <a:pt x="245" y="85"/>
                </a:cubicBezTo>
                <a:cubicBezTo>
                  <a:pt x="196" y="51"/>
                  <a:pt x="196" y="51"/>
                  <a:pt x="196" y="51"/>
                </a:cubicBezTo>
                <a:cubicBezTo>
                  <a:pt x="199" y="41"/>
                  <a:pt x="199" y="41"/>
                  <a:pt x="199" y="41"/>
                </a:cubicBezTo>
                <a:cubicBezTo>
                  <a:pt x="209" y="45"/>
                  <a:pt x="219" y="50"/>
                  <a:pt x="229" y="56"/>
                </a:cubicBezTo>
                <a:close/>
                <a:moveTo>
                  <a:pt x="188" y="38"/>
                </a:moveTo>
                <a:cubicBezTo>
                  <a:pt x="185" y="48"/>
                  <a:pt x="185" y="48"/>
                  <a:pt x="185" y="48"/>
                </a:cubicBezTo>
                <a:cubicBezTo>
                  <a:pt x="126" y="50"/>
                  <a:pt x="126" y="50"/>
                  <a:pt x="126" y="50"/>
                </a:cubicBezTo>
                <a:cubicBezTo>
                  <a:pt x="122" y="40"/>
                  <a:pt x="122" y="40"/>
                  <a:pt x="122" y="40"/>
                </a:cubicBezTo>
                <a:cubicBezTo>
                  <a:pt x="143" y="33"/>
                  <a:pt x="166" y="32"/>
                  <a:pt x="188" y="38"/>
                </a:cubicBezTo>
                <a:close/>
                <a:moveTo>
                  <a:pt x="111" y="43"/>
                </a:moveTo>
                <a:cubicBezTo>
                  <a:pt x="115" y="53"/>
                  <a:pt x="115" y="53"/>
                  <a:pt x="115" y="53"/>
                </a:cubicBezTo>
                <a:cubicBezTo>
                  <a:pt x="68" y="90"/>
                  <a:pt x="68" y="90"/>
                  <a:pt x="68" y="90"/>
                </a:cubicBezTo>
                <a:cubicBezTo>
                  <a:pt x="59" y="84"/>
                  <a:pt x="59" y="84"/>
                  <a:pt x="59" y="84"/>
                </a:cubicBezTo>
                <a:cubicBezTo>
                  <a:pt x="73" y="65"/>
                  <a:pt x="91" y="52"/>
                  <a:pt x="111" y="43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1798" kern="0">
              <a:solidFill>
                <a:srgbClr val="FFFFFF"/>
              </a:solidFill>
            </a:endParaRPr>
          </a:p>
        </p:txBody>
      </p:sp>
      <p:sp>
        <p:nvSpPr>
          <p:cNvPr id="15" name="Freeform 14"/>
          <p:cNvSpPr>
            <a:spLocks noEditPoints="1"/>
          </p:cNvSpPr>
          <p:nvPr userDrawn="1"/>
        </p:nvSpPr>
        <p:spPr bwMode="auto">
          <a:xfrm>
            <a:off x="8737083" y="126660"/>
            <a:ext cx="1923048" cy="1927225"/>
          </a:xfrm>
          <a:custGeom>
            <a:avLst/>
            <a:gdLst>
              <a:gd name="T0" fmla="*/ 75 w 510"/>
              <a:gd name="T1" fmla="*/ 109 h 511"/>
              <a:gd name="T2" fmla="*/ 29 w 510"/>
              <a:gd name="T3" fmla="*/ 203 h 511"/>
              <a:gd name="T4" fmla="*/ 0 w 510"/>
              <a:gd name="T5" fmla="*/ 281 h 511"/>
              <a:gd name="T6" fmla="*/ 23 w 510"/>
              <a:gd name="T7" fmla="*/ 364 h 511"/>
              <a:gd name="T8" fmla="*/ 73 w 510"/>
              <a:gd name="T9" fmla="*/ 436 h 511"/>
              <a:gd name="T10" fmla="*/ 152 w 510"/>
              <a:gd name="T11" fmla="*/ 463 h 511"/>
              <a:gd name="T12" fmla="*/ 253 w 510"/>
              <a:gd name="T13" fmla="*/ 487 h 511"/>
              <a:gd name="T14" fmla="*/ 336 w 510"/>
              <a:gd name="T15" fmla="*/ 498 h 511"/>
              <a:gd name="T16" fmla="*/ 412 w 510"/>
              <a:gd name="T17" fmla="*/ 457 h 511"/>
              <a:gd name="T18" fmla="*/ 464 w 510"/>
              <a:gd name="T19" fmla="*/ 401 h 511"/>
              <a:gd name="T20" fmla="*/ 501 w 510"/>
              <a:gd name="T21" fmla="*/ 322 h 511"/>
              <a:gd name="T22" fmla="*/ 485 w 510"/>
              <a:gd name="T23" fmla="*/ 240 h 511"/>
              <a:gd name="T24" fmla="*/ 455 w 510"/>
              <a:gd name="T25" fmla="*/ 141 h 511"/>
              <a:gd name="T26" fmla="*/ 412 w 510"/>
              <a:gd name="T27" fmla="*/ 87 h 511"/>
              <a:gd name="T28" fmla="*/ 360 w 510"/>
              <a:gd name="T29" fmla="*/ 22 h 511"/>
              <a:gd name="T30" fmla="*/ 275 w 510"/>
              <a:gd name="T31" fmla="*/ 1 h 511"/>
              <a:gd name="T32" fmla="*/ 189 w 510"/>
              <a:gd name="T33" fmla="*/ 8 h 511"/>
              <a:gd name="T34" fmla="*/ 126 w 510"/>
              <a:gd name="T35" fmla="*/ 63 h 511"/>
              <a:gd name="T36" fmla="*/ 97 w 510"/>
              <a:gd name="T37" fmla="*/ 130 h 511"/>
              <a:gd name="T38" fmla="*/ 61 w 510"/>
              <a:gd name="T39" fmla="*/ 201 h 511"/>
              <a:gd name="T40" fmla="*/ 180 w 510"/>
              <a:gd name="T41" fmla="*/ 238 h 511"/>
              <a:gd name="T42" fmla="*/ 178 w 510"/>
              <a:gd name="T43" fmla="*/ 254 h 511"/>
              <a:gd name="T44" fmla="*/ 55 w 510"/>
              <a:gd name="T45" fmla="*/ 286 h 511"/>
              <a:gd name="T46" fmla="*/ 62 w 510"/>
              <a:gd name="T47" fmla="*/ 314 h 511"/>
              <a:gd name="T48" fmla="*/ 75 w 510"/>
              <a:gd name="T49" fmla="*/ 346 h 511"/>
              <a:gd name="T50" fmla="*/ 89 w 510"/>
              <a:gd name="T51" fmla="*/ 371 h 511"/>
              <a:gd name="T52" fmla="*/ 203 w 510"/>
              <a:gd name="T53" fmla="*/ 313 h 511"/>
              <a:gd name="T54" fmla="*/ 148 w 510"/>
              <a:gd name="T55" fmla="*/ 426 h 511"/>
              <a:gd name="T56" fmla="*/ 152 w 510"/>
              <a:gd name="T57" fmla="*/ 429 h 511"/>
              <a:gd name="T58" fmla="*/ 205 w 510"/>
              <a:gd name="T59" fmla="*/ 451 h 511"/>
              <a:gd name="T60" fmla="*/ 248 w 510"/>
              <a:gd name="T61" fmla="*/ 332 h 511"/>
              <a:gd name="T62" fmla="*/ 264 w 510"/>
              <a:gd name="T63" fmla="*/ 331 h 511"/>
              <a:gd name="T64" fmla="*/ 313 w 510"/>
              <a:gd name="T65" fmla="*/ 447 h 511"/>
              <a:gd name="T66" fmla="*/ 319 w 510"/>
              <a:gd name="T67" fmla="*/ 446 h 511"/>
              <a:gd name="T68" fmla="*/ 370 w 510"/>
              <a:gd name="T69" fmla="*/ 420 h 511"/>
              <a:gd name="T70" fmla="*/ 308 w 510"/>
              <a:gd name="T71" fmla="*/ 310 h 511"/>
              <a:gd name="T72" fmla="*/ 318 w 510"/>
              <a:gd name="T73" fmla="*/ 297 h 511"/>
              <a:gd name="T74" fmla="*/ 438 w 510"/>
              <a:gd name="T75" fmla="*/ 336 h 511"/>
              <a:gd name="T76" fmla="*/ 447 w 510"/>
              <a:gd name="T77" fmla="*/ 309 h 511"/>
              <a:gd name="T78" fmla="*/ 453 w 510"/>
              <a:gd name="T79" fmla="*/ 276 h 511"/>
              <a:gd name="T80" fmla="*/ 330 w 510"/>
              <a:gd name="T81" fmla="*/ 251 h 511"/>
              <a:gd name="T82" fmla="*/ 328 w 510"/>
              <a:gd name="T83" fmla="*/ 240 h 511"/>
              <a:gd name="T84" fmla="*/ 435 w 510"/>
              <a:gd name="T85" fmla="*/ 170 h 511"/>
              <a:gd name="T86" fmla="*/ 421 w 510"/>
              <a:gd name="T87" fmla="*/ 145 h 511"/>
              <a:gd name="T88" fmla="*/ 275 w 510"/>
              <a:gd name="T89" fmla="*/ 279 h 511"/>
              <a:gd name="T90" fmla="*/ 308 w 510"/>
              <a:gd name="T91" fmla="*/ 202 h 511"/>
              <a:gd name="T92" fmla="*/ 296 w 510"/>
              <a:gd name="T93" fmla="*/ 192 h 511"/>
              <a:gd name="T94" fmla="*/ 335 w 510"/>
              <a:gd name="T95" fmla="*/ 72 h 511"/>
              <a:gd name="T96" fmla="*/ 330 w 510"/>
              <a:gd name="T97" fmla="*/ 70 h 511"/>
              <a:gd name="T98" fmla="*/ 275 w 510"/>
              <a:gd name="T99" fmla="*/ 56 h 511"/>
              <a:gd name="T100" fmla="*/ 250 w 510"/>
              <a:gd name="T101" fmla="*/ 180 h 511"/>
              <a:gd name="T102" fmla="*/ 234 w 510"/>
              <a:gd name="T103" fmla="*/ 182 h 511"/>
              <a:gd name="T104" fmla="*/ 169 w 510"/>
              <a:gd name="T105" fmla="*/ 74 h 511"/>
              <a:gd name="T106" fmla="*/ 164 w 510"/>
              <a:gd name="T107" fmla="*/ 76 h 511"/>
              <a:gd name="T108" fmla="*/ 201 w 510"/>
              <a:gd name="T109" fmla="*/ 201 h 5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10" h="511">
                <a:moveTo>
                  <a:pt x="98" y="85"/>
                </a:moveTo>
                <a:cubicBezTo>
                  <a:pt x="98" y="85"/>
                  <a:pt x="98" y="85"/>
                  <a:pt x="98" y="85"/>
                </a:cubicBezTo>
                <a:cubicBezTo>
                  <a:pt x="76" y="72"/>
                  <a:pt x="76" y="72"/>
                  <a:pt x="76" y="72"/>
                </a:cubicBezTo>
                <a:cubicBezTo>
                  <a:pt x="68" y="80"/>
                  <a:pt x="68" y="80"/>
                  <a:pt x="68" y="80"/>
                </a:cubicBezTo>
                <a:cubicBezTo>
                  <a:pt x="61" y="88"/>
                  <a:pt x="61" y="88"/>
                  <a:pt x="61" y="88"/>
                </a:cubicBezTo>
                <a:cubicBezTo>
                  <a:pt x="75" y="109"/>
                  <a:pt x="75" y="109"/>
                  <a:pt x="75" y="109"/>
                </a:cubicBezTo>
                <a:cubicBezTo>
                  <a:pt x="67" y="119"/>
                  <a:pt x="61" y="129"/>
                  <a:pt x="55" y="139"/>
                </a:cubicBezTo>
                <a:cubicBezTo>
                  <a:pt x="30" y="133"/>
                  <a:pt x="30" y="133"/>
                  <a:pt x="30" y="133"/>
                </a:cubicBezTo>
                <a:cubicBezTo>
                  <a:pt x="25" y="143"/>
                  <a:pt x="25" y="143"/>
                  <a:pt x="25" y="143"/>
                </a:cubicBezTo>
                <a:cubicBezTo>
                  <a:pt x="20" y="152"/>
                  <a:pt x="20" y="152"/>
                  <a:pt x="20" y="152"/>
                </a:cubicBezTo>
                <a:cubicBezTo>
                  <a:pt x="40" y="169"/>
                  <a:pt x="40" y="169"/>
                  <a:pt x="40" y="169"/>
                </a:cubicBezTo>
                <a:cubicBezTo>
                  <a:pt x="35" y="180"/>
                  <a:pt x="32" y="191"/>
                  <a:pt x="29" y="203"/>
                </a:cubicBezTo>
                <a:cubicBezTo>
                  <a:pt x="4" y="205"/>
                  <a:pt x="4" y="205"/>
                  <a:pt x="4" y="205"/>
                </a:cubicBezTo>
                <a:cubicBezTo>
                  <a:pt x="2" y="215"/>
                  <a:pt x="2" y="215"/>
                  <a:pt x="2" y="215"/>
                </a:cubicBezTo>
                <a:cubicBezTo>
                  <a:pt x="0" y="226"/>
                  <a:pt x="0" y="226"/>
                  <a:pt x="0" y="226"/>
                </a:cubicBezTo>
                <a:cubicBezTo>
                  <a:pt x="24" y="236"/>
                  <a:pt x="24" y="236"/>
                  <a:pt x="24" y="236"/>
                </a:cubicBezTo>
                <a:cubicBezTo>
                  <a:pt x="23" y="248"/>
                  <a:pt x="23" y="259"/>
                  <a:pt x="24" y="271"/>
                </a:cubicBezTo>
                <a:cubicBezTo>
                  <a:pt x="0" y="281"/>
                  <a:pt x="0" y="281"/>
                  <a:pt x="0" y="281"/>
                </a:cubicBezTo>
                <a:cubicBezTo>
                  <a:pt x="1" y="291"/>
                  <a:pt x="1" y="291"/>
                  <a:pt x="1" y="291"/>
                </a:cubicBezTo>
                <a:cubicBezTo>
                  <a:pt x="3" y="302"/>
                  <a:pt x="3" y="302"/>
                  <a:pt x="3" y="302"/>
                </a:cubicBezTo>
                <a:cubicBezTo>
                  <a:pt x="28" y="305"/>
                  <a:pt x="28" y="305"/>
                  <a:pt x="28" y="305"/>
                </a:cubicBezTo>
                <a:cubicBezTo>
                  <a:pt x="31" y="316"/>
                  <a:pt x="34" y="327"/>
                  <a:pt x="39" y="339"/>
                </a:cubicBezTo>
                <a:cubicBezTo>
                  <a:pt x="18" y="355"/>
                  <a:pt x="18" y="355"/>
                  <a:pt x="18" y="355"/>
                </a:cubicBezTo>
                <a:cubicBezTo>
                  <a:pt x="23" y="364"/>
                  <a:pt x="23" y="364"/>
                  <a:pt x="23" y="364"/>
                </a:cubicBezTo>
                <a:cubicBezTo>
                  <a:pt x="28" y="374"/>
                  <a:pt x="28" y="374"/>
                  <a:pt x="28" y="374"/>
                </a:cubicBezTo>
                <a:cubicBezTo>
                  <a:pt x="53" y="369"/>
                  <a:pt x="53" y="369"/>
                  <a:pt x="53" y="369"/>
                </a:cubicBezTo>
                <a:cubicBezTo>
                  <a:pt x="59" y="379"/>
                  <a:pt x="65" y="389"/>
                  <a:pt x="73" y="398"/>
                </a:cubicBezTo>
                <a:cubicBezTo>
                  <a:pt x="58" y="420"/>
                  <a:pt x="58" y="420"/>
                  <a:pt x="58" y="420"/>
                </a:cubicBezTo>
                <a:cubicBezTo>
                  <a:pt x="65" y="428"/>
                  <a:pt x="65" y="428"/>
                  <a:pt x="65" y="428"/>
                </a:cubicBezTo>
                <a:cubicBezTo>
                  <a:pt x="73" y="436"/>
                  <a:pt x="73" y="436"/>
                  <a:pt x="73" y="436"/>
                </a:cubicBezTo>
                <a:cubicBezTo>
                  <a:pt x="95" y="423"/>
                  <a:pt x="95" y="423"/>
                  <a:pt x="95" y="423"/>
                </a:cubicBezTo>
                <a:cubicBezTo>
                  <a:pt x="104" y="432"/>
                  <a:pt x="113" y="439"/>
                  <a:pt x="123" y="446"/>
                </a:cubicBezTo>
                <a:cubicBezTo>
                  <a:pt x="115" y="470"/>
                  <a:pt x="115" y="470"/>
                  <a:pt x="115" y="470"/>
                </a:cubicBezTo>
                <a:cubicBezTo>
                  <a:pt x="125" y="476"/>
                  <a:pt x="125" y="476"/>
                  <a:pt x="125" y="476"/>
                </a:cubicBezTo>
                <a:cubicBezTo>
                  <a:pt x="134" y="481"/>
                  <a:pt x="134" y="481"/>
                  <a:pt x="134" y="481"/>
                </a:cubicBezTo>
                <a:cubicBezTo>
                  <a:pt x="152" y="463"/>
                  <a:pt x="152" y="463"/>
                  <a:pt x="152" y="463"/>
                </a:cubicBezTo>
                <a:cubicBezTo>
                  <a:pt x="163" y="468"/>
                  <a:pt x="174" y="472"/>
                  <a:pt x="185" y="476"/>
                </a:cubicBezTo>
                <a:cubicBezTo>
                  <a:pt x="185" y="502"/>
                  <a:pt x="185" y="502"/>
                  <a:pt x="185" y="502"/>
                </a:cubicBezTo>
                <a:cubicBezTo>
                  <a:pt x="195" y="504"/>
                  <a:pt x="195" y="504"/>
                  <a:pt x="195" y="504"/>
                </a:cubicBezTo>
                <a:cubicBezTo>
                  <a:pt x="206" y="507"/>
                  <a:pt x="206" y="507"/>
                  <a:pt x="206" y="507"/>
                </a:cubicBezTo>
                <a:cubicBezTo>
                  <a:pt x="217" y="484"/>
                  <a:pt x="217" y="484"/>
                  <a:pt x="217" y="484"/>
                </a:cubicBezTo>
                <a:cubicBezTo>
                  <a:pt x="229" y="486"/>
                  <a:pt x="241" y="487"/>
                  <a:pt x="253" y="487"/>
                </a:cubicBezTo>
                <a:cubicBezTo>
                  <a:pt x="261" y="511"/>
                  <a:pt x="261" y="511"/>
                  <a:pt x="261" y="511"/>
                </a:cubicBezTo>
                <a:cubicBezTo>
                  <a:pt x="271" y="510"/>
                  <a:pt x="271" y="510"/>
                  <a:pt x="271" y="510"/>
                </a:cubicBezTo>
                <a:cubicBezTo>
                  <a:pt x="282" y="510"/>
                  <a:pt x="282" y="510"/>
                  <a:pt x="282" y="510"/>
                </a:cubicBezTo>
                <a:cubicBezTo>
                  <a:pt x="286" y="484"/>
                  <a:pt x="286" y="484"/>
                  <a:pt x="286" y="484"/>
                </a:cubicBezTo>
                <a:cubicBezTo>
                  <a:pt x="298" y="483"/>
                  <a:pt x="310" y="480"/>
                  <a:pt x="321" y="477"/>
                </a:cubicBezTo>
                <a:cubicBezTo>
                  <a:pt x="336" y="498"/>
                  <a:pt x="336" y="498"/>
                  <a:pt x="336" y="498"/>
                </a:cubicBezTo>
                <a:cubicBezTo>
                  <a:pt x="346" y="494"/>
                  <a:pt x="346" y="494"/>
                  <a:pt x="346" y="494"/>
                </a:cubicBezTo>
                <a:cubicBezTo>
                  <a:pt x="356" y="490"/>
                  <a:pt x="356" y="490"/>
                  <a:pt x="356" y="490"/>
                </a:cubicBezTo>
                <a:cubicBezTo>
                  <a:pt x="352" y="465"/>
                  <a:pt x="352" y="465"/>
                  <a:pt x="352" y="465"/>
                </a:cubicBezTo>
                <a:cubicBezTo>
                  <a:pt x="363" y="460"/>
                  <a:pt x="373" y="454"/>
                  <a:pt x="383" y="447"/>
                </a:cubicBezTo>
                <a:cubicBezTo>
                  <a:pt x="403" y="463"/>
                  <a:pt x="403" y="463"/>
                  <a:pt x="403" y="463"/>
                </a:cubicBezTo>
                <a:cubicBezTo>
                  <a:pt x="412" y="457"/>
                  <a:pt x="412" y="457"/>
                  <a:pt x="412" y="457"/>
                </a:cubicBezTo>
                <a:cubicBezTo>
                  <a:pt x="421" y="450"/>
                  <a:pt x="421" y="450"/>
                  <a:pt x="421" y="450"/>
                </a:cubicBezTo>
                <a:cubicBezTo>
                  <a:pt x="410" y="426"/>
                  <a:pt x="410" y="426"/>
                  <a:pt x="410" y="426"/>
                </a:cubicBezTo>
                <a:cubicBezTo>
                  <a:pt x="410" y="426"/>
                  <a:pt x="410" y="426"/>
                  <a:pt x="410" y="426"/>
                </a:cubicBezTo>
                <a:cubicBezTo>
                  <a:pt x="419" y="418"/>
                  <a:pt x="427" y="410"/>
                  <a:pt x="434" y="401"/>
                </a:cubicBezTo>
                <a:cubicBezTo>
                  <a:pt x="458" y="410"/>
                  <a:pt x="458" y="410"/>
                  <a:pt x="458" y="410"/>
                </a:cubicBezTo>
                <a:cubicBezTo>
                  <a:pt x="464" y="401"/>
                  <a:pt x="464" y="401"/>
                  <a:pt x="464" y="401"/>
                </a:cubicBezTo>
                <a:cubicBezTo>
                  <a:pt x="470" y="392"/>
                  <a:pt x="470" y="392"/>
                  <a:pt x="470" y="392"/>
                </a:cubicBezTo>
                <a:cubicBezTo>
                  <a:pt x="453" y="373"/>
                  <a:pt x="453" y="373"/>
                  <a:pt x="453" y="373"/>
                </a:cubicBezTo>
                <a:cubicBezTo>
                  <a:pt x="459" y="363"/>
                  <a:pt x="465" y="352"/>
                  <a:pt x="469" y="341"/>
                </a:cubicBezTo>
                <a:cubicBezTo>
                  <a:pt x="495" y="343"/>
                  <a:pt x="495" y="343"/>
                  <a:pt x="495" y="343"/>
                </a:cubicBezTo>
                <a:cubicBezTo>
                  <a:pt x="498" y="333"/>
                  <a:pt x="498" y="333"/>
                  <a:pt x="498" y="333"/>
                </a:cubicBezTo>
                <a:cubicBezTo>
                  <a:pt x="501" y="322"/>
                  <a:pt x="501" y="322"/>
                  <a:pt x="501" y="322"/>
                </a:cubicBezTo>
                <a:cubicBezTo>
                  <a:pt x="479" y="309"/>
                  <a:pt x="479" y="309"/>
                  <a:pt x="479" y="309"/>
                </a:cubicBezTo>
                <a:cubicBezTo>
                  <a:pt x="482" y="298"/>
                  <a:pt x="484" y="286"/>
                  <a:pt x="485" y="274"/>
                </a:cubicBezTo>
                <a:cubicBezTo>
                  <a:pt x="510" y="268"/>
                  <a:pt x="510" y="268"/>
                  <a:pt x="510" y="268"/>
                </a:cubicBezTo>
                <a:cubicBezTo>
                  <a:pt x="510" y="257"/>
                  <a:pt x="510" y="257"/>
                  <a:pt x="510" y="257"/>
                </a:cubicBezTo>
                <a:cubicBezTo>
                  <a:pt x="510" y="247"/>
                  <a:pt x="510" y="247"/>
                  <a:pt x="510" y="247"/>
                </a:cubicBezTo>
                <a:cubicBezTo>
                  <a:pt x="485" y="240"/>
                  <a:pt x="485" y="240"/>
                  <a:pt x="485" y="240"/>
                </a:cubicBezTo>
                <a:cubicBezTo>
                  <a:pt x="484" y="229"/>
                  <a:pt x="483" y="217"/>
                  <a:pt x="480" y="205"/>
                </a:cubicBezTo>
                <a:cubicBezTo>
                  <a:pt x="502" y="192"/>
                  <a:pt x="502" y="192"/>
                  <a:pt x="502" y="192"/>
                </a:cubicBezTo>
                <a:cubicBezTo>
                  <a:pt x="499" y="182"/>
                  <a:pt x="499" y="182"/>
                  <a:pt x="499" y="182"/>
                </a:cubicBezTo>
                <a:cubicBezTo>
                  <a:pt x="496" y="172"/>
                  <a:pt x="496" y="172"/>
                  <a:pt x="496" y="172"/>
                </a:cubicBezTo>
                <a:cubicBezTo>
                  <a:pt x="470" y="173"/>
                  <a:pt x="470" y="173"/>
                  <a:pt x="470" y="173"/>
                </a:cubicBezTo>
                <a:cubicBezTo>
                  <a:pt x="466" y="162"/>
                  <a:pt x="461" y="151"/>
                  <a:pt x="455" y="141"/>
                </a:cubicBezTo>
                <a:cubicBezTo>
                  <a:pt x="473" y="122"/>
                  <a:pt x="473" y="122"/>
                  <a:pt x="473" y="122"/>
                </a:cubicBezTo>
                <a:cubicBezTo>
                  <a:pt x="467" y="113"/>
                  <a:pt x="467" y="113"/>
                  <a:pt x="467" y="113"/>
                </a:cubicBezTo>
                <a:cubicBezTo>
                  <a:pt x="461" y="104"/>
                  <a:pt x="461" y="104"/>
                  <a:pt x="461" y="104"/>
                </a:cubicBezTo>
                <a:cubicBezTo>
                  <a:pt x="436" y="113"/>
                  <a:pt x="436" y="113"/>
                  <a:pt x="436" y="113"/>
                </a:cubicBezTo>
                <a:cubicBezTo>
                  <a:pt x="433" y="108"/>
                  <a:pt x="429" y="104"/>
                  <a:pt x="425" y="100"/>
                </a:cubicBezTo>
                <a:cubicBezTo>
                  <a:pt x="421" y="95"/>
                  <a:pt x="417" y="91"/>
                  <a:pt x="412" y="87"/>
                </a:cubicBezTo>
                <a:cubicBezTo>
                  <a:pt x="424" y="64"/>
                  <a:pt x="424" y="64"/>
                  <a:pt x="424" y="64"/>
                </a:cubicBezTo>
                <a:cubicBezTo>
                  <a:pt x="415" y="57"/>
                  <a:pt x="415" y="57"/>
                  <a:pt x="415" y="57"/>
                </a:cubicBezTo>
                <a:cubicBezTo>
                  <a:pt x="407" y="50"/>
                  <a:pt x="407" y="50"/>
                  <a:pt x="407" y="50"/>
                </a:cubicBezTo>
                <a:cubicBezTo>
                  <a:pt x="386" y="66"/>
                  <a:pt x="386" y="66"/>
                  <a:pt x="386" y="66"/>
                </a:cubicBezTo>
                <a:cubicBezTo>
                  <a:pt x="377" y="59"/>
                  <a:pt x="366" y="53"/>
                  <a:pt x="356" y="48"/>
                </a:cubicBezTo>
                <a:cubicBezTo>
                  <a:pt x="360" y="22"/>
                  <a:pt x="360" y="22"/>
                  <a:pt x="360" y="22"/>
                </a:cubicBezTo>
                <a:cubicBezTo>
                  <a:pt x="350" y="18"/>
                  <a:pt x="350" y="18"/>
                  <a:pt x="350" y="18"/>
                </a:cubicBezTo>
                <a:cubicBezTo>
                  <a:pt x="340" y="14"/>
                  <a:pt x="340" y="14"/>
                  <a:pt x="340" y="14"/>
                </a:cubicBezTo>
                <a:cubicBezTo>
                  <a:pt x="325" y="35"/>
                  <a:pt x="325" y="35"/>
                  <a:pt x="325" y="35"/>
                </a:cubicBezTo>
                <a:cubicBezTo>
                  <a:pt x="313" y="32"/>
                  <a:pt x="302" y="29"/>
                  <a:pt x="290" y="27"/>
                </a:cubicBezTo>
                <a:cubicBezTo>
                  <a:pt x="286" y="2"/>
                  <a:pt x="286" y="2"/>
                  <a:pt x="286" y="2"/>
                </a:cubicBezTo>
                <a:cubicBezTo>
                  <a:pt x="275" y="1"/>
                  <a:pt x="275" y="1"/>
                  <a:pt x="275" y="1"/>
                </a:cubicBezTo>
                <a:cubicBezTo>
                  <a:pt x="265" y="0"/>
                  <a:pt x="265" y="0"/>
                  <a:pt x="265" y="0"/>
                </a:cubicBezTo>
                <a:cubicBezTo>
                  <a:pt x="257" y="24"/>
                  <a:pt x="257" y="24"/>
                  <a:pt x="257" y="24"/>
                </a:cubicBezTo>
                <a:cubicBezTo>
                  <a:pt x="245" y="24"/>
                  <a:pt x="233" y="25"/>
                  <a:pt x="221" y="27"/>
                </a:cubicBezTo>
                <a:cubicBezTo>
                  <a:pt x="210" y="3"/>
                  <a:pt x="210" y="3"/>
                  <a:pt x="210" y="3"/>
                </a:cubicBezTo>
                <a:cubicBezTo>
                  <a:pt x="199" y="6"/>
                  <a:pt x="199" y="6"/>
                  <a:pt x="199" y="6"/>
                </a:cubicBezTo>
                <a:cubicBezTo>
                  <a:pt x="189" y="8"/>
                  <a:pt x="189" y="8"/>
                  <a:pt x="189" y="8"/>
                </a:cubicBezTo>
                <a:cubicBezTo>
                  <a:pt x="188" y="34"/>
                  <a:pt x="188" y="34"/>
                  <a:pt x="188" y="34"/>
                </a:cubicBezTo>
                <a:cubicBezTo>
                  <a:pt x="177" y="37"/>
                  <a:pt x="166" y="41"/>
                  <a:pt x="155" y="47"/>
                </a:cubicBezTo>
                <a:cubicBezTo>
                  <a:pt x="138" y="28"/>
                  <a:pt x="138" y="28"/>
                  <a:pt x="138" y="28"/>
                </a:cubicBezTo>
                <a:cubicBezTo>
                  <a:pt x="128" y="33"/>
                  <a:pt x="128" y="33"/>
                  <a:pt x="128" y="33"/>
                </a:cubicBezTo>
                <a:cubicBezTo>
                  <a:pt x="119" y="38"/>
                  <a:pt x="119" y="38"/>
                  <a:pt x="119" y="38"/>
                </a:cubicBezTo>
                <a:cubicBezTo>
                  <a:pt x="126" y="63"/>
                  <a:pt x="126" y="63"/>
                  <a:pt x="126" y="63"/>
                </a:cubicBezTo>
                <a:cubicBezTo>
                  <a:pt x="116" y="69"/>
                  <a:pt x="107" y="77"/>
                  <a:pt x="98" y="85"/>
                </a:cubicBezTo>
                <a:close/>
                <a:moveTo>
                  <a:pt x="97" y="130"/>
                </a:moveTo>
                <a:cubicBezTo>
                  <a:pt x="194" y="209"/>
                  <a:pt x="194" y="209"/>
                  <a:pt x="194" y="209"/>
                </a:cubicBezTo>
                <a:cubicBezTo>
                  <a:pt x="193" y="210"/>
                  <a:pt x="192" y="212"/>
                  <a:pt x="191" y="213"/>
                </a:cubicBezTo>
                <a:cubicBezTo>
                  <a:pt x="84" y="149"/>
                  <a:pt x="84" y="149"/>
                  <a:pt x="84" y="149"/>
                </a:cubicBezTo>
                <a:cubicBezTo>
                  <a:pt x="88" y="142"/>
                  <a:pt x="93" y="136"/>
                  <a:pt x="97" y="130"/>
                </a:cubicBezTo>
                <a:close/>
                <a:moveTo>
                  <a:pt x="81" y="154"/>
                </a:moveTo>
                <a:cubicBezTo>
                  <a:pt x="188" y="218"/>
                  <a:pt x="188" y="218"/>
                  <a:pt x="188" y="218"/>
                </a:cubicBezTo>
                <a:cubicBezTo>
                  <a:pt x="187" y="220"/>
                  <a:pt x="186" y="221"/>
                  <a:pt x="185" y="223"/>
                </a:cubicBezTo>
                <a:cubicBezTo>
                  <a:pt x="71" y="174"/>
                  <a:pt x="71" y="174"/>
                  <a:pt x="71" y="174"/>
                </a:cubicBezTo>
                <a:cubicBezTo>
                  <a:pt x="74" y="167"/>
                  <a:pt x="77" y="160"/>
                  <a:pt x="81" y="154"/>
                </a:cubicBezTo>
                <a:close/>
                <a:moveTo>
                  <a:pt x="61" y="201"/>
                </a:moveTo>
                <a:cubicBezTo>
                  <a:pt x="63" y="194"/>
                  <a:pt x="65" y="186"/>
                  <a:pt x="68" y="179"/>
                </a:cubicBezTo>
                <a:cubicBezTo>
                  <a:pt x="183" y="228"/>
                  <a:pt x="183" y="228"/>
                  <a:pt x="183" y="228"/>
                </a:cubicBezTo>
                <a:cubicBezTo>
                  <a:pt x="182" y="230"/>
                  <a:pt x="182" y="231"/>
                  <a:pt x="181" y="233"/>
                </a:cubicBezTo>
                <a:lnTo>
                  <a:pt x="61" y="201"/>
                </a:lnTo>
                <a:close/>
                <a:moveTo>
                  <a:pt x="59" y="206"/>
                </a:moveTo>
                <a:cubicBezTo>
                  <a:pt x="180" y="238"/>
                  <a:pt x="180" y="238"/>
                  <a:pt x="180" y="238"/>
                </a:cubicBezTo>
                <a:cubicBezTo>
                  <a:pt x="179" y="240"/>
                  <a:pt x="179" y="242"/>
                  <a:pt x="179" y="244"/>
                </a:cubicBezTo>
                <a:cubicBezTo>
                  <a:pt x="55" y="229"/>
                  <a:pt x="55" y="229"/>
                  <a:pt x="55" y="229"/>
                </a:cubicBezTo>
                <a:cubicBezTo>
                  <a:pt x="56" y="221"/>
                  <a:pt x="57" y="214"/>
                  <a:pt x="59" y="206"/>
                </a:cubicBezTo>
                <a:close/>
                <a:moveTo>
                  <a:pt x="54" y="235"/>
                </a:moveTo>
                <a:cubicBezTo>
                  <a:pt x="178" y="249"/>
                  <a:pt x="178" y="249"/>
                  <a:pt x="178" y="249"/>
                </a:cubicBezTo>
                <a:cubicBezTo>
                  <a:pt x="178" y="251"/>
                  <a:pt x="178" y="253"/>
                  <a:pt x="178" y="254"/>
                </a:cubicBezTo>
                <a:cubicBezTo>
                  <a:pt x="53" y="258"/>
                  <a:pt x="53" y="258"/>
                  <a:pt x="53" y="258"/>
                </a:cubicBezTo>
                <a:cubicBezTo>
                  <a:pt x="53" y="250"/>
                  <a:pt x="53" y="242"/>
                  <a:pt x="54" y="235"/>
                </a:cubicBezTo>
                <a:close/>
                <a:moveTo>
                  <a:pt x="53" y="263"/>
                </a:moveTo>
                <a:cubicBezTo>
                  <a:pt x="178" y="260"/>
                  <a:pt x="178" y="260"/>
                  <a:pt x="178" y="260"/>
                </a:cubicBezTo>
                <a:cubicBezTo>
                  <a:pt x="178" y="262"/>
                  <a:pt x="178" y="264"/>
                  <a:pt x="178" y="265"/>
                </a:cubicBezTo>
                <a:cubicBezTo>
                  <a:pt x="55" y="286"/>
                  <a:pt x="55" y="286"/>
                  <a:pt x="55" y="286"/>
                </a:cubicBezTo>
                <a:cubicBezTo>
                  <a:pt x="54" y="279"/>
                  <a:pt x="54" y="271"/>
                  <a:pt x="53" y="263"/>
                </a:cubicBezTo>
                <a:close/>
                <a:moveTo>
                  <a:pt x="62" y="314"/>
                </a:moveTo>
                <a:cubicBezTo>
                  <a:pt x="60" y="307"/>
                  <a:pt x="58" y="299"/>
                  <a:pt x="56" y="292"/>
                </a:cubicBezTo>
                <a:cubicBezTo>
                  <a:pt x="179" y="271"/>
                  <a:pt x="179" y="271"/>
                  <a:pt x="179" y="271"/>
                </a:cubicBezTo>
                <a:cubicBezTo>
                  <a:pt x="180" y="273"/>
                  <a:pt x="180" y="274"/>
                  <a:pt x="180" y="276"/>
                </a:cubicBezTo>
                <a:lnTo>
                  <a:pt x="62" y="314"/>
                </a:lnTo>
                <a:close/>
                <a:moveTo>
                  <a:pt x="64" y="320"/>
                </a:moveTo>
                <a:cubicBezTo>
                  <a:pt x="182" y="282"/>
                  <a:pt x="182" y="282"/>
                  <a:pt x="182" y="282"/>
                </a:cubicBezTo>
                <a:cubicBezTo>
                  <a:pt x="183" y="283"/>
                  <a:pt x="183" y="285"/>
                  <a:pt x="184" y="287"/>
                </a:cubicBezTo>
                <a:cubicBezTo>
                  <a:pt x="72" y="341"/>
                  <a:pt x="72" y="341"/>
                  <a:pt x="72" y="341"/>
                </a:cubicBezTo>
                <a:cubicBezTo>
                  <a:pt x="69" y="334"/>
                  <a:pt x="66" y="327"/>
                  <a:pt x="64" y="320"/>
                </a:cubicBezTo>
                <a:close/>
                <a:moveTo>
                  <a:pt x="75" y="346"/>
                </a:moveTo>
                <a:cubicBezTo>
                  <a:pt x="187" y="292"/>
                  <a:pt x="187" y="292"/>
                  <a:pt x="187" y="292"/>
                </a:cubicBezTo>
                <a:cubicBezTo>
                  <a:pt x="187" y="293"/>
                  <a:pt x="188" y="295"/>
                  <a:pt x="189" y="296"/>
                </a:cubicBezTo>
                <a:cubicBezTo>
                  <a:pt x="86" y="366"/>
                  <a:pt x="86" y="366"/>
                  <a:pt x="86" y="366"/>
                </a:cubicBezTo>
                <a:cubicBezTo>
                  <a:pt x="82" y="360"/>
                  <a:pt x="78" y="353"/>
                  <a:pt x="75" y="346"/>
                </a:cubicBezTo>
                <a:close/>
                <a:moveTo>
                  <a:pt x="104" y="389"/>
                </a:moveTo>
                <a:cubicBezTo>
                  <a:pt x="99" y="383"/>
                  <a:pt x="94" y="377"/>
                  <a:pt x="89" y="371"/>
                </a:cubicBezTo>
                <a:cubicBezTo>
                  <a:pt x="192" y="301"/>
                  <a:pt x="192" y="301"/>
                  <a:pt x="192" y="301"/>
                </a:cubicBezTo>
                <a:cubicBezTo>
                  <a:pt x="193" y="302"/>
                  <a:pt x="195" y="304"/>
                  <a:pt x="196" y="305"/>
                </a:cubicBezTo>
                <a:lnTo>
                  <a:pt x="104" y="389"/>
                </a:lnTo>
                <a:close/>
                <a:moveTo>
                  <a:pt x="108" y="393"/>
                </a:moveTo>
                <a:cubicBezTo>
                  <a:pt x="199" y="309"/>
                  <a:pt x="199" y="309"/>
                  <a:pt x="199" y="309"/>
                </a:cubicBezTo>
                <a:cubicBezTo>
                  <a:pt x="201" y="310"/>
                  <a:pt x="202" y="312"/>
                  <a:pt x="203" y="313"/>
                </a:cubicBezTo>
                <a:cubicBezTo>
                  <a:pt x="124" y="409"/>
                  <a:pt x="124" y="409"/>
                  <a:pt x="124" y="409"/>
                </a:cubicBezTo>
                <a:cubicBezTo>
                  <a:pt x="118" y="404"/>
                  <a:pt x="113" y="399"/>
                  <a:pt x="108" y="393"/>
                </a:cubicBezTo>
                <a:close/>
                <a:moveTo>
                  <a:pt x="129" y="413"/>
                </a:moveTo>
                <a:cubicBezTo>
                  <a:pt x="208" y="316"/>
                  <a:pt x="208" y="316"/>
                  <a:pt x="208" y="316"/>
                </a:cubicBezTo>
                <a:cubicBezTo>
                  <a:pt x="209" y="318"/>
                  <a:pt x="211" y="319"/>
                  <a:pt x="212" y="320"/>
                </a:cubicBezTo>
                <a:cubicBezTo>
                  <a:pt x="148" y="426"/>
                  <a:pt x="148" y="426"/>
                  <a:pt x="148" y="426"/>
                </a:cubicBezTo>
                <a:cubicBezTo>
                  <a:pt x="141" y="422"/>
                  <a:pt x="135" y="418"/>
                  <a:pt x="129" y="413"/>
                </a:cubicBezTo>
                <a:close/>
                <a:moveTo>
                  <a:pt x="152" y="429"/>
                </a:moveTo>
                <a:cubicBezTo>
                  <a:pt x="217" y="322"/>
                  <a:pt x="217" y="322"/>
                  <a:pt x="217" y="322"/>
                </a:cubicBezTo>
                <a:cubicBezTo>
                  <a:pt x="218" y="323"/>
                  <a:pt x="220" y="324"/>
                  <a:pt x="222" y="325"/>
                </a:cubicBezTo>
                <a:cubicBezTo>
                  <a:pt x="173" y="440"/>
                  <a:pt x="173" y="440"/>
                  <a:pt x="173" y="440"/>
                </a:cubicBezTo>
                <a:cubicBezTo>
                  <a:pt x="166" y="436"/>
                  <a:pt x="159" y="433"/>
                  <a:pt x="152" y="429"/>
                </a:cubicBezTo>
                <a:close/>
                <a:moveTo>
                  <a:pt x="178" y="442"/>
                </a:moveTo>
                <a:cubicBezTo>
                  <a:pt x="227" y="327"/>
                  <a:pt x="227" y="327"/>
                  <a:pt x="227" y="327"/>
                </a:cubicBezTo>
                <a:cubicBezTo>
                  <a:pt x="229" y="328"/>
                  <a:pt x="230" y="328"/>
                  <a:pt x="232" y="329"/>
                </a:cubicBezTo>
                <a:cubicBezTo>
                  <a:pt x="200" y="449"/>
                  <a:pt x="200" y="449"/>
                  <a:pt x="200" y="449"/>
                </a:cubicBezTo>
                <a:cubicBezTo>
                  <a:pt x="193" y="447"/>
                  <a:pt x="185" y="445"/>
                  <a:pt x="178" y="442"/>
                </a:cubicBezTo>
                <a:close/>
                <a:moveTo>
                  <a:pt x="205" y="451"/>
                </a:moveTo>
                <a:cubicBezTo>
                  <a:pt x="237" y="330"/>
                  <a:pt x="237" y="330"/>
                  <a:pt x="237" y="330"/>
                </a:cubicBezTo>
                <a:cubicBezTo>
                  <a:pt x="239" y="331"/>
                  <a:pt x="241" y="331"/>
                  <a:pt x="243" y="331"/>
                </a:cubicBezTo>
                <a:cubicBezTo>
                  <a:pt x="228" y="455"/>
                  <a:pt x="228" y="455"/>
                  <a:pt x="228" y="455"/>
                </a:cubicBezTo>
                <a:cubicBezTo>
                  <a:pt x="220" y="454"/>
                  <a:pt x="213" y="452"/>
                  <a:pt x="205" y="451"/>
                </a:cubicBezTo>
                <a:close/>
                <a:moveTo>
                  <a:pt x="234" y="455"/>
                </a:moveTo>
                <a:cubicBezTo>
                  <a:pt x="248" y="332"/>
                  <a:pt x="248" y="332"/>
                  <a:pt x="248" y="332"/>
                </a:cubicBezTo>
                <a:cubicBezTo>
                  <a:pt x="250" y="332"/>
                  <a:pt x="252" y="332"/>
                  <a:pt x="254" y="332"/>
                </a:cubicBezTo>
                <a:cubicBezTo>
                  <a:pt x="257" y="456"/>
                  <a:pt x="257" y="456"/>
                  <a:pt x="257" y="456"/>
                </a:cubicBezTo>
                <a:cubicBezTo>
                  <a:pt x="249" y="457"/>
                  <a:pt x="241" y="456"/>
                  <a:pt x="234" y="455"/>
                </a:cubicBezTo>
                <a:close/>
                <a:moveTo>
                  <a:pt x="262" y="456"/>
                </a:moveTo>
                <a:cubicBezTo>
                  <a:pt x="259" y="332"/>
                  <a:pt x="259" y="332"/>
                  <a:pt x="259" y="332"/>
                </a:cubicBezTo>
                <a:cubicBezTo>
                  <a:pt x="261" y="332"/>
                  <a:pt x="263" y="331"/>
                  <a:pt x="264" y="331"/>
                </a:cubicBezTo>
                <a:cubicBezTo>
                  <a:pt x="285" y="454"/>
                  <a:pt x="285" y="454"/>
                  <a:pt x="285" y="454"/>
                </a:cubicBezTo>
                <a:cubicBezTo>
                  <a:pt x="278" y="455"/>
                  <a:pt x="270" y="456"/>
                  <a:pt x="262" y="456"/>
                </a:cubicBezTo>
                <a:close/>
                <a:moveTo>
                  <a:pt x="291" y="453"/>
                </a:moveTo>
                <a:cubicBezTo>
                  <a:pt x="270" y="330"/>
                  <a:pt x="270" y="330"/>
                  <a:pt x="270" y="330"/>
                </a:cubicBezTo>
                <a:cubicBezTo>
                  <a:pt x="272" y="330"/>
                  <a:pt x="273" y="329"/>
                  <a:pt x="275" y="329"/>
                </a:cubicBezTo>
                <a:cubicBezTo>
                  <a:pt x="313" y="447"/>
                  <a:pt x="313" y="447"/>
                  <a:pt x="313" y="447"/>
                </a:cubicBezTo>
                <a:cubicBezTo>
                  <a:pt x="306" y="450"/>
                  <a:pt x="298" y="452"/>
                  <a:pt x="291" y="453"/>
                </a:cubicBezTo>
                <a:close/>
                <a:moveTo>
                  <a:pt x="319" y="446"/>
                </a:moveTo>
                <a:cubicBezTo>
                  <a:pt x="280" y="327"/>
                  <a:pt x="280" y="327"/>
                  <a:pt x="280" y="327"/>
                </a:cubicBezTo>
                <a:cubicBezTo>
                  <a:pt x="282" y="327"/>
                  <a:pt x="284" y="326"/>
                  <a:pt x="285" y="325"/>
                </a:cubicBezTo>
                <a:cubicBezTo>
                  <a:pt x="340" y="437"/>
                  <a:pt x="340" y="437"/>
                  <a:pt x="340" y="437"/>
                </a:cubicBezTo>
                <a:cubicBezTo>
                  <a:pt x="333" y="440"/>
                  <a:pt x="326" y="443"/>
                  <a:pt x="319" y="446"/>
                </a:cubicBezTo>
                <a:close/>
                <a:moveTo>
                  <a:pt x="345" y="435"/>
                </a:moveTo>
                <a:cubicBezTo>
                  <a:pt x="290" y="323"/>
                  <a:pt x="290" y="323"/>
                  <a:pt x="290" y="323"/>
                </a:cubicBezTo>
                <a:cubicBezTo>
                  <a:pt x="292" y="322"/>
                  <a:pt x="293" y="321"/>
                  <a:pt x="295" y="320"/>
                </a:cubicBezTo>
                <a:cubicBezTo>
                  <a:pt x="365" y="423"/>
                  <a:pt x="365" y="423"/>
                  <a:pt x="365" y="423"/>
                </a:cubicBezTo>
                <a:cubicBezTo>
                  <a:pt x="359" y="427"/>
                  <a:pt x="352" y="431"/>
                  <a:pt x="345" y="435"/>
                </a:cubicBezTo>
                <a:close/>
                <a:moveTo>
                  <a:pt x="370" y="420"/>
                </a:moveTo>
                <a:cubicBezTo>
                  <a:pt x="300" y="317"/>
                  <a:pt x="300" y="317"/>
                  <a:pt x="300" y="317"/>
                </a:cubicBezTo>
                <a:cubicBezTo>
                  <a:pt x="301" y="316"/>
                  <a:pt x="302" y="315"/>
                  <a:pt x="304" y="313"/>
                </a:cubicBezTo>
                <a:cubicBezTo>
                  <a:pt x="388" y="405"/>
                  <a:pt x="388" y="405"/>
                  <a:pt x="388" y="405"/>
                </a:cubicBezTo>
                <a:cubicBezTo>
                  <a:pt x="382" y="411"/>
                  <a:pt x="376" y="415"/>
                  <a:pt x="370" y="420"/>
                </a:cubicBezTo>
                <a:close/>
                <a:moveTo>
                  <a:pt x="392" y="402"/>
                </a:moveTo>
                <a:cubicBezTo>
                  <a:pt x="308" y="310"/>
                  <a:pt x="308" y="310"/>
                  <a:pt x="308" y="310"/>
                </a:cubicBezTo>
                <a:cubicBezTo>
                  <a:pt x="309" y="308"/>
                  <a:pt x="310" y="307"/>
                  <a:pt x="311" y="306"/>
                </a:cubicBezTo>
                <a:cubicBezTo>
                  <a:pt x="408" y="385"/>
                  <a:pt x="408" y="385"/>
                  <a:pt x="408" y="385"/>
                </a:cubicBezTo>
                <a:cubicBezTo>
                  <a:pt x="403" y="391"/>
                  <a:pt x="397" y="396"/>
                  <a:pt x="392" y="402"/>
                </a:cubicBezTo>
                <a:close/>
                <a:moveTo>
                  <a:pt x="411" y="380"/>
                </a:moveTo>
                <a:cubicBezTo>
                  <a:pt x="315" y="301"/>
                  <a:pt x="315" y="301"/>
                  <a:pt x="315" y="301"/>
                </a:cubicBezTo>
                <a:cubicBezTo>
                  <a:pt x="316" y="300"/>
                  <a:pt x="317" y="299"/>
                  <a:pt x="318" y="297"/>
                </a:cubicBezTo>
                <a:cubicBezTo>
                  <a:pt x="424" y="362"/>
                  <a:pt x="424" y="362"/>
                  <a:pt x="424" y="362"/>
                </a:cubicBezTo>
                <a:cubicBezTo>
                  <a:pt x="420" y="368"/>
                  <a:pt x="416" y="374"/>
                  <a:pt x="411" y="380"/>
                </a:cubicBezTo>
                <a:close/>
                <a:moveTo>
                  <a:pt x="427" y="357"/>
                </a:moveTo>
                <a:cubicBezTo>
                  <a:pt x="321" y="292"/>
                  <a:pt x="321" y="292"/>
                  <a:pt x="321" y="292"/>
                </a:cubicBezTo>
                <a:cubicBezTo>
                  <a:pt x="322" y="291"/>
                  <a:pt x="322" y="289"/>
                  <a:pt x="323" y="288"/>
                </a:cubicBezTo>
                <a:cubicBezTo>
                  <a:pt x="438" y="336"/>
                  <a:pt x="438" y="336"/>
                  <a:pt x="438" y="336"/>
                </a:cubicBezTo>
                <a:cubicBezTo>
                  <a:pt x="435" y="343"/>
                  <a:pt x="431" y="350"/>
                  <a:pt x="427" y="357"/>
                </a:cubicBezTo>
                <a:close/>
                <a:moveTo>
                  <a:pt x="447" y="309"/>
                </a:moveTo>
                <a:cubicBezTo>
                  <a:pt x="445" y="317"/>
                  <a:pt x="443" y="324"/>
                  <a:pt x="440" y="331"/>
                </a:cubicBezTo>
                <a:cubicBezTo>
                  <a:pt x="325" y="282"/>
                  <a:pt x="325" y="282"/>
                  <a:pt x="325" y="282"/>
                </a:cubicBezTo>
                <a:cubicBezTo>
                  <a:pt x="326" y="281"/>
                  <a:pt x="326" y="279"/>
                  <a:pt x="327" y="277"/>
                </a:cubicBezTo>
                <a:lnTo>
                  <a:pt x="447" y="309"/>
                </a:lnTo>
                <a:close/>
                <a:moveTo>
                  <a:pt x="449" y="304"/>
                </a:moveTo>
                <a:cubicBezTo>
                  <a:pt x="328" y="272"/>
                  <a:pt x="328" y="272"/>
                  <a:pt x="328" y="272"/>
                </a:cubicBezTo>
                <a:cubicBezTo>
                  <a:pt x="329" y="270"/>
                  <a:pt x="329" y="269"/>
                  <a:pt x="329" y="267"/>
                </a:cubicBezTo>
                <a:cubicBezTo>
                  <a:pt x="453" y="281"/>
                  <a:pt x="453" y="281"/>
                  <a:pt x="453" y="281"/>
                </a:cubicBezTo>
                <a:cubicBezTo>
                  <a:pt x="452" y="289"/>
                  <a:pt x="450" y="297"/>
                  <a:pt x="449" y="304"/>
                </a:cubicBezTo>
                <a:close/>
                <a:moveTo>
                  <a:pt x="453" y="276"/>
                </a:moveTo>
                <a:cubicBezTo>
                  <a:pt x="330" y="261"/>
                  <a:pt x="330" y="261"/>
                  <a:pt x="330" y="261"/>
                </a:cubicBezTo>
                <a:cubicBezTo>
                  <a:pt x="330" y="260"/>
                  <a:pt x="330" y="258"/>
                  <a:pt x="330" y="256"/>
                </a:cubicBezTo>
                <a:cubicBezTo>
                  <a:pt x="454" y="253"/>
                  <a:pt x="454" y="253"/>
                  <a:pt x="454" y="253"/>
                </a:cubicBezTo>
                <a:cubicBezTo>
                  <a:pt x="455" y="261"/>
                  <a:pt x="454" y="268"/>
                  <a:pt x="453" y="276"/>
                </a:cubicBezTo>
                <a:close/>
                <a:moveTo>
                  <a:pt x="454" y="247"/>
                </a:moveTo>
                <a:cubicBezTo>
                  <a:pt x="330" y="251"/>
                  <a:pt x="330" y="251"/>
                  <a:pt x="330" y="251"/>
                </a:cubicBezTo>
                <a:cubicBezTo>
                  <a:pt x="330" y="249"/>
                  <a:pt x="329" y="247"/>
                  <a:pt x="329" y="245"/>
                </a:cubicBezTo>
                <a:cubicBezTo>
                  <a:pt x="452" y="224"/>
                  <a:pt x="452" y="224"/>
                  <a:pt x="452" y="224"/>
                </a:cubicBezTo>
                <a:cubicBezTo>
                  <a:pt x="453" y="232"/>
                  <a:pt x="454" y="240"/>
                  <a:pt x="454" y="247"/>
                </a:cubicBezTo>
                <a:close/>
                <a:moveTo>
                  <a:pt x="446" y="197"/>
                </a:moveTo>
                <a:cubicBezTo>
                  <a:pt x="448" y="204"/>
                  <a:pt x="450" y="211"/>
                  <a:pt x="451" y="219"/>
                </a:cubicBezTo>
                <a:cubicBezTo>
                  <a:pt x="328" y="240"/>
                  <a:pt x="328" y="240"/>
                  <a:pt x="328" y="240"/>
                </a:cubicBezTo>
                <a:cubicBezTo>
                  <a:pt x="328" y="238"/>
                  <a:pt x="327" y="237"/>
                  <a:pt x="327" y="235"/>
                </a:cubicBezTo>
                <a:lnTo>
                  <a:pt x="446" y="197"/>
                </a:lnTo>
                <a:close/>
                <a:moveTo>
                  <a:pt x="444" y="191"/>
                </a:moveTo>
                <a:cubicBezTo>
                  <a:pt x="325" y="230"/>
                  <a:pt x="325" y="230"/>
                  <a:pt x="325" y="230"/>
                </a:cubicBezTo>
                <a:cubicBezTo>
                  <a:pt x="325" y="228"/>
                  <a:pt x="324" y="226"/>
                  <a:pt x="323" y="225"/>
                </a:cubicBezTo>
                <a:cubicBezTo>
                  <a:pt x="435" y="170"/>
                  <a:pt x="435" y="170"/>
                  <a:pt x="435" y="170"/>
                </a:cubicBezTo>
                <a:cubicBezTo>
                  <a:pt x="439" y="177"/>
                  <a:pt x="441" y="184"/>
                  <a:pt x="444" y="191"/>
                </a:cubicBezTo>
                <a:close/>
                <a:moveTo>
                  <a:pt x="421" y="145"/>
                </a:moveTo>
                <a:cubicBezTo>
                  <a:pt x="425" y="152"/>
                  <a:pt x="429" y="158"/>
                  <a:pt x="433" y="165"/>
                </a:cubicBezTo>
                <a:cubicBezTo>
                  <a:pt x="321" y="220"/>
                  <a:pt x="321" y="220"/>
                  <a:pt x="321" y="220"/>
                </a:cubicBezTo>
                <a:cubicBezTo>
                  <a:pt x="320" y="218"/>
                  <a:pt x="319" y="217"/>
                  <a:pt x="318" y="215"/>
                </a:cubicBezTo>
                <a:lnTo>
                  <a:pt x="421" y="145"/>
                </a:lnTo>
                <a:close/>
                <a:moveTo>
                  <a:pt x="404" y="123"/>
                </a:moveTo>
                <a:cubicBezTo>
                  <a:pt x="409" y="128"/>
                  <a:pt x="414" y="134"/>
                  <a:pt x="418" y="141"/>
                </a:cubicBezTo>
                <a:cubicBezTo>
                  <a:pt x="315" y="211"/>
                  <a:pt x="315" y="211"/>
                  <a:pt x="315" y="211"/>
                </a:cubicBezTo>
                <a:cubicBezTo>
                  <a:pt x="314" y="209"/>
                  <a:pt x="313" y="208"/>
                  <a:pt x="312" y="207"/>
                </a:cubicBezTo>
                <a:lnTo>
                  <a:pt x="404" y="123"/>
                </a:lnTo>
                <a:close/>
                <a:moveTo>
                  <a:pt x="275" y="279"/>
                </a:moveTo>
                <a:cubicBezTo>
                  <a:pt x="262" y="291"/>
                  <a:pt x="242" y="290"/>
                  <a:pt x="231" y="277"/>
                </a:cubicBezTo>
                <a:cubicBezTo>
                  <a:pt x="219" y="264"/>
                  <a:pt x="220" y="244"/>
                  <a:pt x="233" y="233"/>
                </a:cubicBezTo>
                <a:cubicBezTo>
                  <a:pt x="245" y="221"/>
                  <a:pt x="265" y="222"/>
                  <a:pt x="277" y="235"/>
                </a:cubicBezTo>
                <a:cubicBezTo>
                  <a:pt x="289" y="247"/>
                  <a:pt x="288" y="267"/>
                  <a:pt x="275" y="279"/>
                </a:cubicBezTo>
                <a:close/>
                <a:moveTo>
                  <a:pt x="400" y="119"/>
                </a:moveTo>
                <a:cubicBezTo>
                  <a:pt x="308" y="202"/>
                  <a:pt x="308" y="202"/>
                  <a:pt x="308" y="202"/>
                </a:cubicBezTo>
                <a:cubicBezTo>
                  <a:pt x="307" y="201"/>
                  <a:pt x="306" y="200"/>
                  <a:pt x="304" y="199"/>
                </a:cubicBezTo>
                <a:cubicBezTo>
                  <a:pt x="383" y="103"/>
                  <a:pt x="383" y="103"/>
                  <a:pt x="383" y="103"/>
                </a:cubicBezTo>
                <a:cubicBezTo>
                  <a:pt x="389" y="108"/>
                  <a:pt x="395" y="113"/>
                  <a:pt x="400" y="119"/>
                </a:cubicBezTo>
                <a:close/>
                <a:moveTo>
                  <a:pt x="379" y="99"/>
                </a:moveTo>
                <a:cubicBezTo>
                  <a:pt x="300" y="195"/>
                  <a:pt x="300" y="195"/>
                  <a:pt x="300" y="195"/>
                </a:cubicBezTo>
                <a:cubicBezTo>
                  <a:pt x="299" y="194"/>
                  <a:pt x="297" y="193"/>
                  <a:pt x="296" y="192"/>
                </a:cubicBezTo>
                <a:cubicBezTo>
                  <a:pt x="360" y="86"/>
                  <a:pt x="360" y="86"/>
                  <a:pt x="360" y="86"/>
                </a:cubicBezTo>
                <a:cubicBezTo>
                  <a:pt x="367" y="90"/>
                  <a:pt x="373" y="94"/>
                  <a:pt x="379" y="99"/>
                </a:cubicBezTo>
                <a:close/>
                <a:moveTo>
                  <a:pt x="356" y="83"/>
                </a:moveTo>
                <a:cubicBezTo>
                  <a:pt x="291" y="189"/>
                  <a:pt x="291" y="189"/>
                  <a:pt x="291" y="189"/>
                </a:cubicBezTo>
                <a:cubicBezTo>
                  <a:pt x="290" y="189"/>
                  <a:pt x="288" y="188"/>
                  <a:pt x="286" y="187"/>
                </a:cubicBezTo>
                <a:cubicBezTo>
                  <a:pt x="335" y="72"/>
                  <a:pt x="335" y="72"/>
                  <a:pt x="335" y="72"/>
                </a:cubicBezTo>
                <a:cubicBezTo>
                  <a:pt x="342" y="76"/>
                  <a:pt x="349" y="79"/>
                  <a:pt x="356" y="83"/>
                </a:cubicBezTo>
                <a:close/>
                <a:moveTo>
                  <a:pt x="330" y="70"/>
                </a:moveTo>
                <a:cubicBezTo>
                  <a:pt x="281" y="185"/>
                  <a:pt x="281" y="185"/>
                  <a:pt x="281" y="185"/>
                </a:cubicBezTo>
                <a:cubicBezTo>
                  <a:pt x="280" y="184"/>
                  <a:pt x="278" y="184"/>
                  <a:pt x="276" y="183"/>
                </a:cubicBezTo>
                <a:cubicBezTo>
                  <a:pt x="308" y="63"/>
                  <a:pt x="308" y="63"/>
                  <a:pt x="308" y="63"/>
                </a:cubicBezTo>
                <a:cubicBezTo>
                  <a:pt x="316" y="65"/>
                  <a:pt x="323" y="67"/>
                  <a:pt x="330" y="70"/>
                </a:cubicBezTo>
                <a:close/>
                <a:moveTo>
                  <a:pt x="303" y="61"/>
                </a:moveTo>
                <a:cubicBezTo>
                  <a:pt x="271" y="182"/>
                  <a:pt x="271" y="182"/>
                  <a:pt x="271" y="182"/>
                </a:cubicBezTo>
                <a:cubicBezTo>
                  <a:pt x="269" y="181"/>
                  <a:pt x="268" y="181"/>
                  <a:pt x="266" y="181"/>
                </a:cubicBezTo>
                <a:cubicBezTo>
                  <a:pt x="280" y="57"/>
                  <a:pt x="280" y="57"/>
                  <a:pt x="280" y="57"/>
                </a:cubicBezTo>
                <a:cubicBezTo>
                  <a:pt x="288" y="58"/>
                  <a:pt x="296" y="59"/>
                  <a:pt x="303" y="61"/>
                </a:cubicBezTo>
                <a:close/>
                <a:moveTo>
                  <a:pt x="275" y="56"/>
                </a:moveTo>
                <a:cubicBezTo>
                  <a:pt x="260" y="180"/>
                  <a:pt x="260" y="180"/>
                  <a:pt x="260" y="180"/>
                </a:cubicBezTo>
                <a:cubicBezTo>
                  <a:pt x="259" y="180"/>
                  <a:pt x="257" y="180"/>
                  <a:pt x="255" y="180"/>
                </a:cubicBezTo>
                <a:cubicBezTo>
                  <a:pt x="252" y="55"/>
                  <a:pt x="252" y="55"/>
                  <a:pt x="252" y="55"/>
                </a:cubicBezTo>
                <a:cubicBezTo>
                  <a:pt x="260" y="55"/>
                  <a:pt x="267" y="56"/>
                  <a:pt x="275" y="56"/>
                </a:cubicBezTo>
                <a:close/>
                <a:moveTo>
                  <a:pt x="246" y="55"/>
                </a:moveTo>
                <a:cubicBezTo>
                  <a:pt x="250" y="180"/>
                  <a:pt x="250" y="180"/>
                  <a:pt x="250" y="180"/>
                </a:cubicBezTo>
                <a:cubicBezTo>
                  <a:pt x="248" y="180"/>
                  <a:pt x="246" y="180"/>
                  <a:pt x="244" y="180"/>
                </a:cubicBezTo>
                <a:cubicBezTo>
                  <a:pt x="224" y="57"/>
                  <a:pt x="224" y="57"/>
                  <a:pt x="224" y="57"/>
                </a:cubicBezTo>
                <a:cubicBezTo>
                  <a:pt x="231" y="56"/>
                  <a:pt x="239" y="56"/>
                  <a:pt x="246" y="55"/>
                </a:cubicBezTo>
                <a:close/>
                <a:moveTo>
                  <a:pt x="218" y="58"/>
                </a:moveTo>
                <a:cubicBezTo>
                  <a:pt x="239" y="181"/>
                  <a:pt x="239" y="181"/>
                  <a:pt x="239" y="181"/>
                </a:cubicBezTo>
                <a:cubicBezTo>
                  <a:pt x="237" y="181"/>
                  <a:pt x="236" y="182"/>
                  <a:pt x="234" y="182"/>
                </a:cubicBezTo>
                <a:cubicBezTo>
                  <a:pt x="196" y="64"/>
                  <a:pt x="196" y="64"/>
                  <a:pt x="196" y="64"/>
                </a:cubicBezTo>
                <a:cubicBezTo>
                  <a:pt x="203" y="62"/>
                  <a:pt x="210" y="60"/>
                  <a:pt x="218" y="58"/>
                </a:cubicBezTo>
                <a:close/>
                <a:moveTo>
                  <a:pt x="190" y="65"/>
                </a:moveTo>
                <a:cubicBezTo>
                  <a:pt x="228" y="184"/>
                  <a:pt x="228" y="184"/>
                  <a:pt x="228" y="184"/>
                </a:cubicBezTo>
                <a:cubicBezTo>
                  <a:pt x="227" y="185"/>
                  <a:pt x="225" y="185"/>
                  <a:pt x="224" y="186"/>
                </a:cubicBezTo>
                <a:cubicBezTo>
                  <a:pt x="169" y="74"/>
                  <a:pt x="169" y="74"/>
                  <a:pt x="169" y="74"/>
                </a:cubicBezTo>
                <a:cubicBezTo>
                  <a:pt x="176" y="71"/>
                  <a:pt x="183" y="68"/>
                  <a:pt x="190" y="65"/>
                </a:cubicBezTo>
                <a:close/>
                <a:moveTo>
                  <a:pt x="164" y="76"/>
                </a:moveTo>
                <a:cubicBezTo>
                  <a:pt x="219" y="188"/>
                  <a:pt x="219" y="188"/>
                  <a:pt x="219" y="188"/>
                </a:cubicBezTo>
                <a:cubicBezTo>
                  <a:pt x="217" y="189"/>
                  <a:pt x="215" y="190"/>
                  <a:pt x="214" y="191"/>
                </a:cubicBezTo>
                <a:cubicBezTo>
                  <a:pt x="144" y="88"/>
                  <a:pt x="144" y="88"/>
                  <a:pt x="144" y="88"/>
                </a:cubicBezTo>
                <a:cubicBezTo>
                  <a:pt x="150" y="84"/>
                  <a:pt x="157" y="80"/>
                  <a:pt x="164" y="76"/>
                </a:cubicBezTo>
                <a:close/>
                <a:moveTo>
                  <a:pt x="139" y="91"/>
                </a:moveTo>
                <a:cubicBezTo>
                  <a:pt x="209" y="194"/>
                  <a:pt x="209" y="194"/>
                  <a:pt x="209" y="194"/>
                </a:cubicBezTo>
                <a:cubicBezTo>
                  <a:pt x="208" y="195"/>
                  <a:pt x="207" y="196"/>
                  <a:pt x="205" y="197"/>
                </a:cubicBezTo>
                <a:cubicBezTo>
                  <a:pt x="121" y="105"/>
                  <a:pt x="121" y="105"/>
                  <a:pt x="121" y="105"/>
                </a:cubicBezTo>
                <a:cubicBezTo>
                  <a:pt x="127" y="100"/>
                  <a:pt x="133" y="95"/>
                  <a:pt x="139" y="91"/>
                </a:cubicBezTo>
                <a:close/>
                <a:moveTo>
                  <a:pt x="201" y="201"/>
                </a:moveTo>
                <a:cubicBezTo>
                  <a:pt x="200" y="202"/>
                  <a:pt x="198" y="203"/>
                  <a:pt x="197" y="205"/>
                </a:cubicBezTo>
                <a:cubicBezTo>
                  <a:pt x="101" y="126"/>
                  <a:pt x="101" y="126"/>
                  <a:pt x="101" y="126"/>
                </a:cubicBezTo>
                <a:cubicBezTo>
                  <a:pt x="106" y="120"/>
                  <a:pt x="111" y="114"/>
                  <a:pt x="117" y="109"/>
                </a:cubicBezTo>
                <a:lnTo>
                  <a:pt x="201" y="201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1798" kern="0">
              <a:solidFill>
                <a:srgbClr val="FFFFFF"/>
              </a:solidFill>
            </a:endParaRPr>
          </a:p>
        </p:txBody>
      </p:sp>
      <p:sp>
        <p:nvSpPr>
          <p:cNvPr id="16" name="Freeform 15"/>
          <p:cNvSpPr>
            <a:spLocks noEditPoints="1"/>
          </p:cNvSpPr>
          <p:nvPr userDrawn="1"/>
        </p:nvSpPr>
        <p:spPr bwMode="auto">
          <a:xfrm>
            <a:off x="9874615" y="1794390"/>
            <a:ext cx="1300017" cy="1302094"/>
          </a:xfrm>
          <a:custGeom>
            <a:avLst/>
            <a:gdLst>
              <a:gd name="T0" fmla="*/ 58 w 390"/>
              <a:gd name="T1" fmla="*/ 56 h 391"/>
              <a:gd name="T2" fmla="*/ 58 w 390"/>
              <a:gd name="T3" fmla="*/ 84 h 391"/>
              <a:gd name="T4" fmla="*/ 20 w 390"/>
              <a:gd name="T5" fmla="*/ 110 h 391"/>
              <a:gd name="T6" fmla="*/ 23 w 390"/>
              <a:gd name="T7" fmla="*/ 155 h 391"/>
              <a:gd name="T8" fmla="*/ 1 w 390"/>
              <a:gd name="T9" fmla="*/ 173 h 391"/>
              <a:gd name="T10" fmla="*/ 18 w 390"/>
              <a:gd name="T11" fmla="*/ 202 h 391"/>
              <a:gd name="T12" fmla="*/ 0 w 390"/>
              <a:gd name="T13" fmla="*/ 215 h 391"/>
              <a:gd name="T14" fmla="*/ 22 w 390"/>
              <a:gd name="T15" fmla="*/ 233 h 391"/>
              <a:gd name="T16" fmla="*/ 18 w 390"/>
              <a:gd name="T17" fmla="*/ 279 h 391"/>
              <a:gd name="T18" fmla="*/ 56 w 390"/>
              <a:gd name="T19" fmla="*/ 305 h 391"/>
              <a:gd name="T20" fmla="*/ 56 w 390"/>
              <a:gd name="T21" fmla="*/ 333 h 391"/>
              <a:gd name="T22" fmla="*/ 89 w 390"/>
              <a:gd name="T23" fmla="*/ 360 h 391"/>
              <a:gd name="T24" fmla="*/ 116 w 390"/>
              <a:gd name="T25" fmla="*/ 354 h 391"/>
              <a:gd name="T26" fmla="*/ 150 w 390"/>
              <a:gd name="T27" fmla="*/ 386 h 391"/>
              <a:gd name="T28" fmla="*/ 172 w 390"/>
              <a:gd name="T29" fmla="*/ 371 h 391"/>
              <a:gd name="T30" fmla="*/ 194 w 390"/>
              <a:gd name="T31" fmla="*/ 372 h 391"/>
              <a:gd name="T32" fmla="*/ 216 w 390"/>
              <a:gd name="T33" fmla="*/ 390 h 391"/>
              <a:gd name="T34" fmla="*/ 257 w 390"/>
              <a:gd name="T35" fmla="*/ 381 h 391"/>
              <a:gd name="T36" fmla="*/ 270 w 390"/>
              <a:gd name="T37" fmla="*/ 356 h 391"/>
              <a:gd name="T38" fmla="*/ 315 w 390"/>
              <a:gd name="T39" fmla="*/ 349 h 391"/>
              <a:gd name="T40" fmla="*/ 314 w 390"/>
              <a:gd name="T41" fmla="*/ 326 h 391"/>
              <a:gd name="T42" fmla="*/ 355 w 390"/>
              <a:gd name="T43" fmla="*/ 307 h 391"/>
              <a:gd name="T44" fmla="*/ 359 w 390"/>
              <a:gd name="T45" fmla="*/ 261 h 391"/>
              <a:gd name="T46" fmla="*/ 383 w 390"/>
              <a:gd name="T47" fmla="*/ 247 h 391"/>
              <a:gd name="T48" fmla="*/ 390 w 390"/>
              <a:gd name="T49" fmla="*/ 205 h 391"/>
              <a:gd name="T50" fmla="*/ 371 w 390"/>
              <a:gd name="T51" fmla="*/ 184 h 391"/>
              <a:gd name="T52" fmla="*/ 382 w 390"/>
              <a:gd name="T53" fmla="*/ 140 h 391"/>
              <a:gd name="T54" fmla="*/ 348 w 390"/>
              <a:gd name="T55" fmla="*/ 108 h 391"/>
              <a:gd name="T56" fmla="*/ 352 w 390"/>
              <a:gd name="T57" fmla="*/ 80 h 391"/>
              <a:gd name="T58" fmla="*/ 316 w 390"/>
              <a:gd name="T59" fmla="*/ 67 h 391"/>
              <a:gd name="T60" fmla="*/ 311 w 390"/>
              <a:gd name="T61" fmla="*/ 39 h 391"/>
              <a:gd name="T62" fmla="*/ 275 w 390"/>
              <a:gd name="T63" fmla="*/ 18 h 391"/>
              <a:gd name="T64" fmla="*/ 248 w 390"/>
              <a:gd name="T65" fmla="*/ 28 h 391"/>
              <a:gd name="T66" fmla="*/ 211 w 390"/>
              <a:gd name="T67" fmla="*/ 1 h 391"/>
              <a:gd name="T68" fmla="*/ 169 w 390"/>
              <a:gd name="T69" fmla="*/ 21 h 391"/>
              <a:gd name="T70" fmla="*/ 145 w 390"/>
              <a:gd name="T71" fmla="*/ 7 h 391"/>
              <a:gd name="T72" fmla="*/ 106 w 390"/>
              <a:gd name="T73" fmla="*/ 22 h 391"/>
              <a:gd name="T74" fmla="*/ 97 w 390"/>
              <a:gd name="T75" fmla="*/ 49 h 391"/>
              <a:gd name="T76" fmla="*/ 41 w 390"/>
              <a:gd name="T77" fmla="*/ 203 h 391"/>
              <a:gd name="T78" fmla="*/ 173 w 390"/>
              <a:gd name="T79" fmla="*/ 348 h 391"/>
              <a:gd name="T80" fmla="*/ 213 w 390"/>
              <a:gd name="T81" fmla="*/ 179 h 391"/>
              <a:gd name="T82" fmla="*/ 178 w 390"/>
              <a:gd name="T83" fmla="*/ 178 h 391"/>
              <a:gd name="T84" fmla="*/ 202 w 390"/>
              <a:gd name="T85" fmla="*/ 349 h 391"/>
              <a:gd name="T86" fmla="*/ 346 w 390"/>
              <a:gd name="T87" fmla="*/ 217 h 391"/>
              <a:gd name="T88" fmla="*/ 296 w 390"/>
              <a:gd name="T89" fmla="*/ 186 h 391"/>
              <a:gd name="T90" fmla="*/ 307 w 390"/>
              <a:gd name="T91" fmla="*/ 93 h 391"/>
              <a:gd name="T92" fmla="*/ 94 w 390"/>
              <a:gd name="T93" fmla="*/ 177 h 391"/>
              <a:gd name="T94" fmla="*/ 187 w 390"/>
              <a:gd name="T95" fmla="*/ 43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90" h="391">
                <a:moveTo>
                  <a:pt x="76" y="65"/>
                </a:moveTo>
                <a:cubicBezTo>
                  <a:pt x="76" y="65"/>
                  <a:pt x="75" y="65"/>
                  <a:pt x="75" y="66"/>
                </a:cubicBezTo>
                <a:cubicBezTo>
                  <a:pt x="58" y="56"/>
                  <a:pt x="58" y="56"/>
                  <a:pt x="58" y="56"/>
                </a:cubicBezTo>
                <a:cubicBezTo>
                  <a:pt x="53" y="62"/>
                  <a:pt x="53" y="62"/>
                  <a:pt x="53" y="62"/>
                </a:cubicBezTo>
                <a:cubicBezTo>
                  <a:pt x="47" y="68"/>
                  <a:pt x="47" y="68"/>
                  <a:pt x="47" y="68"/>
                </a:cubicBezTo>
                <a:cubicBezTo>
                  <a:pt x="58" y="84"/>
                  <a:pt x="58" y="84"/>
                  <a:pt x="58" y="84"/>
                </a:cubicBezTo>
                <a:cubicBezTo>
                  <a:pt x="52" y="91"/>
                  <a:pt x="47" y="99"/>
                  <a:pt x="42" y="106"/>
                </a:cubicBezTo>
                <a:cubicBezTo>
                  <a:pt x="23" y="102"/>
                  <a:pt x="23" y="102"/>
                  <a:pt x="23" y="102"/>
                </a:cubicBezTo>
                <a:cubicBezTo>
                  <a:pt x="20" y="110"/>
                  <a:pt x="20" y="110"/>
                  <a:pt x="20" y="110"/>
                </a:cubicBezTo>
                <a:cubicBezTo>
                  <a:pt x="16" y="117"/>
                  <a:pt x="16" y="117"/>
                  <a:pt x="16" y="117"/>
                </a:cubicBezTo>
                <a:cubicBezTo>
                  <a:pt x="31" y="130"/>
                  <a:pt x="31" y="130"/>
                  <a:pt x="31" y="130"/>
                </a:cubicBezTo>
                <a:cubicBezTo>
                  <a:pt x="28" y="138"/>
                  <a:pt x="25" y="147"/>
                  <a:pt x="23" y="155"/>
                </a:cubicBezTo>
                <a:cubicBezTo>
                  <a:pt x="3" y="157"/>
                  <a:pt x="3" y="157"/>
                  <a:pt x="3" y="157"/>
                </a:cubicBezTo>
                <a:cubicBezTo>
                  <a:pt x="2" y="165"/>
                  <a:pt x="2" y="165"/>
                  <a:pt x="2" y="165"/>
                </a:cubicBezTo>
                <a:cubicBezTo>
                  <a:pt x="1" y="173"/>
                  <a:pt x="1" y="173"/>
                  <a:pt x="1" y="173"/>
                </a:cubicBezTo>
                <a:cubicBezTo>
                  <a:pt x="19" y="181"/>
                  <a:pt x="19" y="181"/>
                  <a:pt x="19" y="181"/>
                </a:cubicBezTo>
                <a:cubicBezTo>
                  <a:pt x="18" y="186"/>
                  <a:pt x="18" y="191"/>
                  <a:pt x="18" y="197"/>
                </a:cubicBezTo>
                <a:cubicBezTo>
                  <a:pt x="18" y="202"/>
                  <a:pt x="18" y="202"/>
                  <a:pt x="18" y="202"/>
                </a:cubicBezTo>
                <a:cubicBezTo>
                  <a:pt x="18" y="202"/>
                  <a:pt x="18" y="202"/>
                  <a:pt x="18" y="202"/>
                </a:cubicBezTo>
                <a:cubicBezTo>
                  <a:pt x="18" y="204"/>
                  <a:pt x="18" y="206"/>
                  <a:pt x="19" y="208"/>
                </a:cubicBezTo>
                <a:cubicBezTo>
                  <a:pt x="0" y="215"/>
                  <a:pt x="0" y="215"/>
                  <a:pt x="0" y="215"/>
                </a:cubicBezTo>
                <a:cubicBezTo>
                  <a:pt x="1" y="223"/>
                  <a:pt x="1" y="223"/>
                  <a:pt x="1" y="223"/>
                </a:cubicBezTo>
                <a:cubicBezTo>
                  <a:pt x="3" y="231"/>
                  <a:pt x="3" y="231"/>
                  <a:pt x="3" y="231"/>
                </a:cubicBezTo>
                <a:cubicBezTo>
                  <a:pt x="22" y="233"/>
                  <a:pt x="22" y="233"/>
                  <a:pt x="22" y="233"/>
                </a:cubicBezTo>
                <a:cubicBezTo>
                  <a:pt x="24" y="242"/>
                  <a:pt x="27" y="251"/>
                  <a:pt x="30" y="259"/>
                </a:cubicBezTo>
                <a:cubicBezTo>
                  <a:pt x="15" y="271"/>
                  <a:pt x="15" y="271"/>
                  <a:pt x="15" y="271"/>
                </a:cubicBezTo>
                <a:cubicBezTo>
                  <a:pt x="18" y="279"/>
                  <a:pt x="18" y="279"/>
                  <a:pt x="18" y="279"/>
                </a:cubicBezTo>
                <a:cubicBezTo>
                  <a:pt x="22" y="286"/>
                  <a:pt x="22" y="286"/>
                  <a:pt x="22" y="286"/>
                </a:cubicBezTo>
                <a:cubicBezTo>
                  <a:pt x="41" y="282"/>
                  <a:pt x="41" y="282"/>
                  <a:pt x="41" y="282"/>
                </a:cubicBezTo>
                <a:cubicBezTo>
                  <a:pt x="45" y="290"/>
                  <a:pt x="50" y="298"/>
                  <a:pt x="56" y="305"/>
                </a:cubicBezTo>
                <a:cubicBezTo>
                  <a:pt x="45" y="321"/>
                  <a:pt x="45" y="321"/>
                  <a:pt x="45" y="321"/>
                </a:cubicBezTo>
                <a:cubicBezTo>
                  <a:pt x="51" y="327"/>
                  <a:pt x="51" y="327"/>
                  <a:pt x="51" y="327"/>
                </a:cubicBezTo>
                <a:cubicBezTo>
                  <a:pt x="56" y="333"/>
                  <a:pt x="56" y="333"/>
                  <a:pt x="56" y="333"/>
                </a:cubicBezTo>
                <a:cubicBezTo>
                  <a:pt x="73" y="324"/>
                  <a:pt x="73" y="324"/>
                  <a:pt x="73" y="324"/>
                </a:cubicBezTo>
                <a:cubicBezTo>
                  <a:pt x="80" y="330"/>
                  <a:pt x="87" y="336"/>
                  <a:pt x="94" y="341"/>
                </a:cubicBezTo>
                <a:cubicBezTo>
                  <a:pt x="89" y="360"/>
                  <a:pt x="89" y="360"/>
                  <a:pt x="89" y="360"/>
                </a:cubicBezTo>
                <a:cubicBezTo>
                  <a:pt x="96" y="364"/>
                  <a:pt x="96" y="364"/>
                  <a:pt x="96" y="364"/>
                </a:cubicBezTo>
                <a:cubicBezTo>
                  <a:pt x="103" y="368"/>
                  <a:pt x="103" y="368"/>
                  <a:pt x="103" y="368"/>
                </a:cubicBezTo>
                <a:cubicBezTo>
                  <a:pt x="116" y="354"/>
                  <a:pt x="116" y="354"/>
                  <a:pt x="116" y="354"/>
                </a:cubicBezTo>
                <a:cubicBezTo>
                  <a:pt x="125" y="358"/>
                  <a:pt x="133" y="361"/>
                  <a:pt x="142" y="364"/>
                </a:cubicBezTo>
                <a:cubicBezTo>
                  <a:pt x="142" y="384"/>
                  <a:pt x="142" y="384"/>
                  <a:pt x="142" y="384"/>
                </a:cubicBezTo>
                <a:cubicBezTo>
                  <a:pt x="150" y="386"/>
                  <a:pt x="150" y="386"/>
                  <a:pt x="150" y="386"/>
                </a:cubicBezTo>
                <a:cubicBezTo>
                  <a:pt x="158" y="387"/>
                  <a:pt x="158" y="387"/>
                  <a:pt x="158" y="387"/>
                </a:cubicBezTo>
                <a:cubicBezTo>
                  <a:pt x="167" y="370"/>
                  <a:pt x="167" y="370"/>
                  <a:pt x="167" y="370"/>
                </a:cubicBezTo>
                <a:cubicBezTo>
                  <a:pt x="168" y="370"/>
                  <a:pt x="170" y="370"/>
                  <a:pt x="172" y="371"/>
                </a:cubicBezTo>
                <a:cubicBezTo>
                  <a:pt x="172" y="371"/>
                  <a:pt x="172" y="371"/>
                  <a:pt x="172" y="371"/>
                </a:cubicBezTo>
                <a:cubicBezTo>
                  <a:pt x="178" y="371"/>
                  <a:pt x="178" y="371"/>
                  <a:pt x="178" y="371"/>
                </a:cubicBezTo>
                <a:cubicBezTo>
                  <a:pt x="183" y="372"/>
                  <a:pt x="188" y="372"/>
                  <a:pt x="194" y="372"/>
                </a:cubicBezTo>
                <a:cubicBezTo>
                  <a:pt x="199" y="391"/>
                  <a:pt x="199" y="391"/>
                  <a:pt x="199" y="391"/>
                </a:cubicBezTo>
                <a:cubicBezTo>
                  <a:pt x="208" y="390"/>
                  <a:pt x="208" y="390"/>
                  <a:pt x="208" y="390"/>
                </a:cubicBezTo>
                <a:cubicBezTo>
                  <a:pt x="216" y="390"/>
                  <a:pt x="216" y="390"/>
                  <a:pt x="216" y="390"/>
                </a:cubicBezTo>
                <a:cubicBezTo>
                  <a:pt x="219" y="370"/>
                  <a:pt x="219" y="370"/>
                  <a:pt x="219" y="370"/>
                </a:cubicBezTo>
                <a:cubicBezTo>
                  <a:pt x="228" y="369"/>
                  <a:pt x="237" y="367"/>
                  <a:pt x="246" y="365"/>
                </a:cubicBezTo>
                <a:cubicBezTo>
                  <a:pt x="257" y="381"/>
                  <a:pt x="257" y="381"/>
                  <a:pt x="257" y="381"/>
                </a:cubicBezTo>
                <a:cubicBezTo>
                  <a:pt x="265" y="378"/>
                  <a:pt x="265" y="378"/>
                  <a:pt x="265" y="378"/>
                </a:cubicBezTo>
                <a:cubicBezTo>
                  <a:pt x="272" y="375"/>
                  <a:pt x="272" y="375"/>
                  <a:pt x="272" y="375"/>
                </a:cubicBezTo>
                <a:cubicBezTo>
                  <a:pt x="270" y="356"/>
                  <a:pt x="270" y="356"/>
                  <a:pt x="270" y="356"/>
                </a:cubicBezTo>
                <a:cubicBezTo>
                  <a:pt x="278" y="352"/>
                  <a:pt x="286" y="347"/>
                  <a:pt x="293" y="342"/>
                </a:cubicBezTo>
                <a:cubicBezTo>
                  <a:pt x="309" y="354"/>
                  <a:pt x="309" y="354"/>
                  <a:pt x="309" y="354"/>
                </a:cubicBezTo>
                <a:cubicBezTo>
                  <a:pt x="315" y="349"/>
                  <a:pt x="315" y="349"/>
                  <a:pt x="315" y="349"/>
                </a:cubicBezTo>
                <a:cubicBezTo>
                  <a:pt x="322" y="344"/>
                  <a:pt x="322" y="344"/>
                  <a:pt x="322" y="344"/>
                </a:cubicBezTo>
                <a:cubicBezTo>
                  <a:pt x="313" y="326"/>
                  <a:pt x="313" y="326"/>
                  <a:pt x="313" y="326"/>
                </a:cubicBezTo>
                <a:cubicBezTo>
                  <a:pt x="314" y="326"/>
                  <a:pt x="314" y="326"/>
                  <a:pt x="314" y="326"/>
                </a:cubicBezTo>
                <a:cubicBezTo>
                  <a:pt x="320" y="320"/>
                  <a:pt x="327" y="313"/>
                  <a:pt x="332" y="307"/>
                </a:cubicBezTo>
                <a:cubicBezTo>
                  <a:pt x="350" y="314"/>
                  <a:pt x="350" y="314"/>
                  <a:pt x="350" y="314"/>
                </a:cubicBezTo>
                <a:cubicBezTo>
                  <a:pt x="355" y="307"/>
                  <a:pt x="355" y="307"/>
                  <a:pt x="355" y="307"/>
                </a:cubicBezTo>
                <a:cubicBezTo>
                  <a:pt x="360" y="300"/>
                  <a:pt x="360" y="300"/>
                  <a:pt x="360" y="300"/>
                </a:cubicBezTo>
                <a:cubicBezTo>
                  <a:pt x="347" y="285"/>
                  <a:pt x="347" y="285"/>
                  <a:pt x="347" y="285"/>
                </a:cubicBezTo>
                <a:cubicBezTo>
                  <a:pt x="351" y="278"/>
                  <a:pt x="355" y="269"/>
                  <a:pt x="359" y="261"/>
                </a:cubicBezTo>
                <a:cubicBezTo>
                  <a:pt x="378" y="263"/>
                  <a:pt x="378" y="263"/>
                  <a:pt x="378" y="263"/>
                </a:cubicBezTo>
                <a:cubicBezTo>
                  <a:pt x="381" y="255"/>
                  <a:pt x="381" y="255"/>
                  <a:pt x="381" y="255"/>
                </a:cubicBezTo>
                <a:cubicBezTo>
                  <a:pt x="383" y="247"/>
                  <a:pt x="383" y="247"/>
                  <a:pt x="383" y="247"/>
                </a:cubicBezTo>
                <a:cubicBezTo>
                  <a:pt x="366" y="237"/>
                  <a:pt x="366" y="237"/>
                  <a:pt x="366" y="237"/>
                </a:cubicBezTo>
                <a:cubicBezTo>
                  <a:pt x="368" y="228"/>
                  <a:pt x="370" y="219"/>
                  <a:pt x="371" y="210"/>
                </a:cubicBezTo>
                <a:cubicBezTo>
                  <a:pt x="390" y="205"/>
                  <a:pt x="390" y="205"/>
                  <a:pt x="390" y="205"/>
                </a:cubicBezTo>
                <a:cubicBezTo>
                  <a:pt x="390" y="197"/>
                  <a:pt x="390" y="197"/>
                  <a:pt x="390" y="197"/>
                </a:cubicBezTo>
                <a:cubicBezTo>
                  <a:pt x="390" y="189"/>
                  <a:pt x="390" y="189"/>
                  <a:pt x="390" y="189"/>
                </a:cubicBezTo>
                <a:cubicBezTo>
                  <a:pt x="371" y="184"/>
                  <a:pt x="371" y="184"/>
                  <a:pt x="371" y="184"/>
                </a:cubicBezTo>
                <a:cubicBezTo>
                  <a:pt x="370" y="175"/>
                  <a:pt x="369" y="166"/>
                  <a:pt x="367" y="157"/>
                </a:cubicBezTo>
                <a:cubicBezTo>
                  <a:pt x="384" y="148"/>
                  <a:pt x="384" y="148"/>
                  <a:pt x="384" y="148"/>
                </a:cubicBezTo>
                <a:cubicBezTo>
                  <a:pt x="382" y="140"/>
                  <a:pt x="382" y="140"/>
                  <a:pt x="382" y="140"/>
                </a:cubicBezTo>
                <a:cubicBezTo>
                  <a:pt x="379" y="132"/>
                  <a:pt x="379" y="132"/>
                  <a:pt x="379" y="132"/>
                </a:cubicBezTo>
                <a:cubicBezTo>
                  <a:pt x="360" y="133"/>
                  <a:pt x="360" y="133"/>
                  <a:pt x="360" y="133"/>
                </a:cubicBezTo>
                <a:cubicBezTo>
                  <a:pt x="356" y="124"/>
                  <a:pt x="353" y="116"/>
                  <a:pt x="348" y="108"/>
                </a:cubicBezTo>
                <a:cubicBezTo>
                  <a:pt x="361" y="94"/>
                  <a:pt x="361" y="94"/>
                  <a:pt x="361" y="94"/>
                </a:cubicBezTo>
                <a:cubicBezTo>
                  <a:pt x="357" y="87"/>
                  <a:pt x="357" y="87"/>
                  <a:pt x="357" y="87"/>
                </a:cubicBezTo>
                <a:cubicBezTo>
                  <a:pt x="352" y="80"/>
                  <a:pt x="352" y="80"/>
                  <a:pt x="352" y="80"/>
                </a:cubicBezTo>
                <a:cubicBezTo>
                  <a:pt x="334" y="87"/>
                  <a:pt x="334" y="87"/>
                  <a:pt x="334" y="87"/>
                </a:cubicBezTo>
                <a:cubicBezTo>
                  <a:pt x="331" y="83"/>
                  <a:pt x="328" y="80"/>
                  <a:pt x="325" y="77"/>
                </a:cubicBezTo>
                <a:cubicBezTo>
                  <a:pt x="322" y="73"/>
                  <a:pt x="319" y="70"/>
                  <a:pt x="316" y="67"/>
                </a:cubicBezTo>
                <a:cubicBezTo>
                  <a:pt x="324" y="49"/>
                  <a:pt x="324" y="49"/>
                  <a:pt x="324" y="49"/>
                </a:cubicBezTo>
                <a:cubicBezTo>
                  <a:pt x="318" y="44"/>
                  <a:pt x="318" y="44"/>
                  <a:pt x="318" y="44"/>
                </a:cubicBezTo>
                <a:cubicBezTo>
                  <a:pt x="311" y="39"/>
                  <a:pt x="311" y="39"/>
                  <a:pt x="311" y="39"/>
                </a:cubicBezTo>
                <a:cubicBezTo>
                  <a:pt x="296" y="51"/>
                  <a:pt x="296" y="51"/>
                  <a:pt x="296" y="51"/>
                </a:cubicBezTo>
                <a:cubicBezTo>
                  <a:pt x="288" y="46"/>
                  <a:pt x="280" y="41"/>
                  <a:pt x="272" y="37"/>
                </a:cubicBezTo>
                <a:cubicBezTo>
                  <a:pt x="275" y="18"/>
                  <a:pt x="275" y="18"/>
                  <a:pt x="275" y="18"/>
                </a:cubicBezTo>
                <a:cubicBezTo>
                  <a:pt x="267" y="15"/>
                  <a:pt x="267" y="15"/>
                  <a:pt x="267" y="15"/>
                </a:cubicBezTo>
                <a:cubicBezTo>
                  <a:pt x="260" y="11"/>
                  <a:pt x="260" y="11"/>
                  <a:pt x="260" y="11"/>
                </a:cubicBezTo>
                <a:cubicBezTo>
                  <a:pt x="248" y="28"/>
                  <a:pt x="248" y="28"/>
                  <a:pt x="248" y="28"/>
                </a:cubicBezTo>
                <a:cubicBezTo>
                  <a:pt x="240" y="25"/>
                  <a:pt x="231" y="23"/>
                  <a:pt x="222" y="21"/>
                </a:cubicBezTo>
                <a:cubicBezTo>
                  <a:pt x="219" y="2"/>
                  <a:pt x="219" y="2"/>
                  <a:pt x="219" y="2"/>
                </a:cubicBezTo>
                <a:cubicBezTo>
                  <a:pt x="211" y="1"/>
                  <a:pt x="211" y="1"/>
                  <a:pt x="211" y="1"/>
                </a:cubicBezTo>
                <a:cubicBezTo>
                  <a:pt x="203" y="0"/>
                  <a:pt x="203" y="0"/>
                  <a:pt x="203" y="0"/>
                </a:cubicBezTo>
                <a:cubicBezTo>
                  <a:pt x="196" y="19"/>
                  <a:pt x="196" y="19"/>
                  <a:pt x="196" y="19"/>
                </a:cubicBezTo>
                <a:cubicBezTo>
                  <a:pt x="187" y="19"/>
                  <a:pt x="178" y="20"/>
                  <a:pt x="169" y="21"/>
                </a:cubicBezTo>
                <a:cubicBezTo>
                  <a:pt x="161" y="3"/>
                  <a:pt x="161" y="3"/>
                  <a:pt x="161" y="3"/>
                </a:cubicBezTo>
                <a:cubicBezTo>
                  <a:pt x="153" y="5"/>
                  <a:pt x="153" y="5"/>
                  <a:pt x="153" y="5"/>
                </a:cubicBezTo>
                <a:cubicBezTo>
                  <a:pt x="145" y="7"/>
                  <a:pt x="145" y="7"/>
                  <a:pt x="145" y="7"/>
                </a:cubicBezTo>
                <a:cubicBezTo>
                  <a:pt x="144" y="26"/>
                  <a:pt x="144" y="26"/>
                  <a:pt x="144" y="26"/>
                </a:cubicBezTo>
                <a:cubicBezTo>
                  <a:pt x="136" y="29"/>
                  <a:pt x="127" y="32"/>
                  <a:pt x="119" y="36"/>
                </a:cubicBezTo>
                <a:cubicBezTo>
                  <a:pt x="106" y="22"/>
                  <a:pt x="106" y="22"/>
                  <a:pt x="106" y="22"/>
                </a:cubicBezTo>
                <a:cubicBezTo>
                  <a:pt x="98" y="26"/>
                  <a:pt x="98" y="26"/>
                  <a:pt x="98" y="26"/>
                </a:cubicBezTo>
                <a:cubicBezTo>
                  <a:pt x="91" y="30"/>
                  <a:pt x="91" y="30"/>
                  <a:pt x="91" y="30"/>
                </a:cubicBezTo>
                <a:cubicBezTo>
                  <a:pt x="97" y="49"/>
                  <a:pt x="97" y="49"/>
                  <a:pt x="97" y="49"/>
                </a:cubicBezTo>
                <a:cubicBezTo>
                  <a:pt x="89" y="54"/>
                  <a:pt x="82" y="59"/>
                  <a:pt x="76" y="65"/>
                </a:cubicBezTo>
                <a:close/>
                <a:moveTo>
                  <a:pt x="81" y="299"/>
                </a:moveTo>
                <a:cubicBezTo>
                  <a:pt x="56" y="272"/>
                  <a:pt x="43" y="238"/>
                  <a:pt x="41" y="203"/>
                </a:cubicBezTo>
                <a:cubicBezTo>
                  <a:pt x="92" y="206"/>
                  <a:pt x="92" y="206"/>
                  <a:pt x="92" y="206"/>
                </a:cubicBezTo>
                <a:cubicBezTo>
                  <a:pt x="140" y="208"/>
                  <a:pt x="178" y="249"/>
                  <a:pt x="175" y="297"/>
                </a:cubicBezTo>
                <a:cubicBezTo>
                  <a:pt x="173" y="348"/>
                  <a:pt x="173" y="348"/>
                  <a:pt x="173" y="348"/>
                </a:cubicBezTo>
                <a:cubicBezTo>
                  <a:pt x="139" y="343"/>
                  <a:pt x="106" y="327"/>
                  <a:pt x="81" y="299"/>
                </a:cubicBezTo>
                <a:close/>
                <a:moveTo>
                  <a:pt x="178" y="178"/>
                </a:moveTo>
                <a:cubicBezTo>
                  <a:pt x="188" y="169"/>
                  <a:pt x="203" y="169"/>
                  <a:pt x="213" y="179"/>
                </a:cubicBezTo>
                <a:cubicBezTo>
                  <a:pt x="222" y="189"/>
                  <a:pt x="221" y="205"/>
                  <a:pt x="211" y="214"/>
                </a:cubicBezTo>
                <a:cubicBezTo>
                  <a:pt x="201" y="223"/>
                  <a:pt x="185" y="223"/>
                  <a:pt x="176" y="213"/>
                </a:cubicBezTo>
                <a:cubicBezTo>
                  <a:pt x="167" y="203"/>
                  <a:pt x="168" y="187"/>
                  <a:pt x="178" y="178"/>
                </a:cubicBezTo>
                <a:close/>
                <a:moveTo>
                  <a:pt x="346" y="217"/>
                </a:moveTo>
                <a:cubicBezTo>
                  <a:pt x="341" y="251"/>
                  <a:pt x="325" y="284"/>
                  <a:pt x="298" y="309"/>
                </a:cubicBezTo>
                <a:cubicBezTo>
                  <a:pt x="270" y="334"/>
                  <a:pt x="236" y="347"/>
                  <a:pt x="202" y="349"/>
                </a:cubicBezTo>
                <a:cubicBezTo>
                  <a:pt x="204" y="298"/>
                  <a:pt x="204" y="298"/>
                  <a:pt x="204" y="298"/>
                </a:cubicBezTo>
                <a:cubicBezTo>
                  <a:pt x="206" y="250"/>
                  <a:pt x="247" y="213"/>
                  <a:pt x="295" y="215"/>
                </a:cubicBezTo>
                <a:lnTo>
                  <a:pt x="346" y="217"/>
                </a:lnTo>
                <a:close/>
                <a:moveTo>
                  <a:pt x="307" y="93"/>
                </a:moveTo>
                <a:cubicBezTo>
                  <a:pt x="333" y="120"/>
                  <a:pt x="346" y="154"/>
                  <a:pt x="347" y="189"/>
                </a:cubicBezTo>
                <a:cubicBezTo>
                  <a:pt x="296" y="186"/>
                  <a:pt x="296" y="186"/>
                  <a:pt x="296" y="186"/>
                </a:cubicBezTo>
                <a:cubicBezTo>
                  <a:pt x="248" y="184"/>
                  <a:pt x="211" y="143"/>
                  <a:pt x="213" y="95"/>
                </a:cubicBezTo>
                <a:cubicBezTo>
                  <a:pt x="216" y="44"/>
                  <a:pt x="216" y="44"/>
                  <a:pt x="216" y="44"/>
                </a:cubicBezTo>
                <a:cubicBezTo>
                  <a:pt x="250" y="49"/>
                  <a:pt x="282" y="65"/>
                  <a:pt x="307" y="93"/>
                </a:cubicBezTo>
                <a:close/>
                <a:moveTo>
                  <a:pt x="187" y="43"/>
                </a:moveTo>
                <a:cubicBezTo>
                  <a:pt x="185" y="94"/>
                  <a:pt x="185" y="94"/>
                  <a:pt x="185" y="94"/>
                </a:cubicBezTo>
                <a:cubicBezTo>
                  <a:pt x="182" y="142"/>
                  <a:pt x="142" y="179"/>
                  <a:pt x="94" y="177"/>
                </a:cubicBezTo>
                <a:cubicBezTo>
                  <a:pt x="43" y="175"/>
                  <a:pt x="43" y="175"/>
                  <a:pt x="43" y="175"/>
                </a:cubicBezTo>
                <a:cubicBezTo>
                  <a:pt x="47" y="141"/>
                  <a:pt x="64" y="108"/>
                  <a:pt x="91" y="83"/>
                </a:cubicBezTo>
                <a:cubicBezTo>
                  <a:pt x="118" y="58"/>
                  <a:pt x="153" y="45"/>
                  <a:pt x="187" y="43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1798" kern="0">
              <a:solidFill>
                <a:srgbClr val="FFFFFF"/>
              </a:solidFill>
            </a:endParaRPr>
          </a:p>
        </p:txBody>
      </p:sp>
      <p:sp>
        <p:nvSpPr>
          <p:cNvPr id="17" name="Freeform 16"/>
          <p:cNvSpPr>
            <a:spLocks noEditPoints="1"/>
          </p:cNvSpPr>
          <p:nvPr userDrawn="1"/>
        </p:nvSpPr>
        <p:spPr bwMode="auto">
          <a:xfrm>
            <a:off x="10801407" y="3015442"/>
            <a:ext cx="458785" cy="457377"/>
          </a:xfrm>
          <a:custGeom>
            <a:avLst/>
            <a:gdLst>
              <a:gd name="T0" fmla="*/ 59 w 351"/>
              <a:gd name="T1" fmla="*/ 80 h 350"/>
              <a:gd name="T2" fmla="*/ 22 w 351"/>
              <a:gd name="T3" fmla="*/ 90 h 350"/>
              <a:gd name="T4" fmla="*/ 20 w 351"/>
              <a:gd name="T5" fmla="*/ 126 h 350"/>
              <a:gd name="T6" fmla="*/ 11 w 351"/>
              <a:gd name="T7" fmla="*/ 146 h 350"/>
              <a:gd name="T8" fmla="*/ 9 w 351"/>
              <a:gd name="T9" fmla="*/ 171 h 350"/>
              <a:gd name="T10" fmla="*/ 14 w 351"/>
              <a:gd name="T11" fmla="*/ 193 h 350"/>
              <a:gd name="T12" fmla="*/ 9 w 351"/>
              <a:gd name="T13" fmla="*/ 228 h 350"/>
              <a:gd name="T14" fmla="*/ 43 w 351"/>
              <a:gd name="T15" fmla="*/ 243 h 350"/>
              <a:gd name="T16" fmla="*/ 31 w 351"/>
              <a:gd name="T17" fmla="*/ 273 h 350"/>
              <a:gd name="T18" fmla="*/ 67 w 351"/>
              <a:gd name="T19" fmla="*/ 278 h 350"/>
              <a:gd name="T20" fmla="*/ 70 w 351"/>
              <a:gd name="T21" fmla="*/ 315 h 350"/>
              <a:gd name="T22" fmla="*/ 105 w 351"/>
              <a:gd name="T23" fmla="*/ 322 h 350"/>
              <a:gd name="T24" fmla="*/ 124 w 351"/>
              <a:gd name="T25" fmla="*/ 334 h 350"/>
              <a:gd name="T26" fmla="*/ 150 w 351"/>
              <a:gd name="T27" fmla="*/ 336 h 350"/>
              <a:gd name="T28" fmla="*/ 171 w 351"/>
              <a:gd name="T29" fmla="*/ 342 h 350"/>
              <a:gd name="T30" fmla="*/ 196 w 351"/>
              <a:gd name="T31" fmla="*/ 341 h 350"/>
              <a:gd name="T32" fmla="*/ 217 w 351"/>
              <a:gd name="T33" fmla="*/ 333 h 350"/>
              <a:gd name="T34" fmla="*/ 253 w 351"/>
              <a:gd name="T35" fmla="*/ 333 h 350"/>
              <a:gd name="T36" fmla="*/ 263 w 351"/>
              <a:gd name="T37" fmla="*/ 297 h 350"/>
              <a:gd name="T38" fmla="*/ 294 w 351"/>
              <a:gd name="T39" fmla="*/ 305 h 350"/>
              <a:gd name="T40" fmla="*/ 294 w 351"/>
              <a:gd name="T41" fmla="*/ 268 h 350"/>
              <a:gd name="T42" fmla="*/ 329 w 351"/>
              <a:gd name="T43" fmla="*/ 261 h 350"/>
              <a:gd name="T44" fmla="*/ 331 w 351"/>
              <a:gd name="T45" fmla="*/ 225 h 350"/>
              <a:gd name="T46" fmla="*/ 340 w 351"/>
              <a:gd name="T47" fmla="*/ 204 h 350"/>
              <a:gd name="T48" fmla="*/ 342 w 351"/>
              <a:gd name="T49" fmla="*/ 179 h 350"/>
              <a:gd name="T50" fmla="*/ 337 w 351"/>
              <a:gd name="T51" fmla="*/ 157 h 350"/>
              <a:gd name="T52" fmla="*/ 342 w 351"/>
              <a:gd name="T53" fmla="*/ 122 h 350"/>
              <a:gd name="T54" fmla="*/ 310 w 351"/>
              <a:gd name="T55" fmla="*/ 109 h 350"/>
              <a:gd name="T56" fmla="*/ 316 w 351"/>
              <a:gd name="T57" fmla="*/ 71 h 350"/>
              <a:gd name="T58" fmla="*/ 284 w 351"/>
              <a:gd name="T59" fmla="*/ 54 h 350"/>
              <a:gd name="T60" fmla="*/ 269 w 351"/>
              <a:gd name="T61" fmla="*/ 38 h 350"/>
              <a:gd name="T62" fmla="*/ 247 w 351"/>
              <a:gd name="T63" fmla="*/ 25 h 350"/>
              <a:gd name="T64" fmla="*/ 226 w 351"/>
              <a:gd name="T65" fmla="*/ 20 h 350"/>
              <a:gd name="T66" fmla="*/ 195 w 351"/>
              <a:gd name="T67" fmla="*/ 1 h 350"/>
              <a:gd name="T68" fmla="*/ 170 w 351"/>
              <a:gd name="T69" fmla="*/ 25 h 350"/>
              <a:gd name="T70" fmla="*/ 138 w 351"/>
              <a:gd name="T71" fmla="*/ 3 h 350"/>
              <a:gd name="T72" fmla="*/ 111 w 351"/>
              <a:gd name="T73" fmla="*/ 29 h 350"/>
              <a:gd name="T74" fmla="*/ 89 w 351"/>
              <a:gd name="T75" fmla="*/ 32 h 350"/>
              <a:gd name="T76" fmla="*/ 69 w 351"/>
              <a:gd name="T77" fmla="*/ 47 h 350"/>
              <a:gd name="T78" fmla="*/ 215 w 351"/>
              <a:gd name="T79" fmla="*/ 283 h 350"/>
              <a:gd name="T80" fmla="*/ 215 w 351"/>
              <a:gd name="T81" fmla="*/ 283 h 350"/>
              <a:gd name="T82" fmla="*/ 258 w 351"/>
              <a:gd name="T83" fmla="*/ 213 h 350"/>
              <a:gd name="T84" fmla="*/ 215 w 351"/>
              <a:gd name="T85" fmla="*/ 229 h 350"/>
              <a:gd name="T86" fmla="*/ 115 w 351"/>
              <a:gd name="T87" fmla="*/ 172 h 350"/>
              <a:gd name="T88" fmla="*/ 82 w 351"/>
              <a:gd name="T89" fmla="*/ 221 h 350"/>
              <a:gd name="T90" fmla="*/ 82 w 351"/>
              <a:gd name="T91" fmla="*/ 221 h 350"/>
              <a:gd name="T92" fmla="*/ 130 w 351"/>
              <a:gd name="T93" fmla="*/ 227 h 350"/>
              <a:gd name="T94" fmla="*/ 137 w 351"/>
              <a:gd name="T95" fmla="*/ 257 h 350"/>
              <a:gd name="T96" fmla="*/ 165 w 351"/>
              <a:gd name="T97" fmla="*/ 242 h 350"/>
              <a:gd name="T98" fmla="*/ 251 w 351"/>
              <a:gd name="T99" fmla="*/ 177 h 350"/>
              <a:gd name="T100" fmla="*/ 251 w 351"/>
              <a:gd name="T101" fmla="*/ 177 h 350"/>
              <a:gd name="T102" fmla="*/ 261 w 351"/>
              <a:gd name="T103" fmla="*/ 143 h 350"/>
              <a:gd name="T104" fmla="*/ 219 w 351"/>
              <a:gd name="T105" fmla="*/ 133 h 350"/>
              <a:gd name="T106" fmla="*/ 200 w 351"/>
              <a:gd name="T107" fmla="*/ 204 h 350"/>
              <a:gd name="T108" fmla="*/ 224 w 351"/>
              <a:gd name="T109" fmla="*/ 69 h 350"/>
              <a:gd name="T110" fmla="*/ 224 w 351"/>
              <a:gd name="T111" fmla="*/ 69 h 350"/>
              <a:gd name="T112" fmla="*/ 169 w 351"/>
              <a:gd name="T113" fmla="*/ 106 h 350"/>
              <a:gd name="T114" fmla="*/ 123 w 351"/>
              <a:gd name="T115" fmla="*/ 130 h 350"/>
              <a:gd name="T116" fmla="*/ 70 w 351"/>
              <a:gd name="T117" fmla="*/ 125 h 350"/>
              <a:gd name="T118" fmla="*/ 135 w 351"/>
              <a:gd name="T119" fmla="*/ 65 h 350"/>
              <a:gd name="T120" fmla="*/ 135 w 351"/>
              <a:gd name="T121" fmla="*/ 65 h 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51" h="350">
                <a:moveTo>
                  <a:pt x="52" y="50"/>
                </a:moveTo>
                <a:cubicBezTo>
                  <a:pt x="48" y="53"/>
                  <a:pt x="49" y="59"/>
                  <a:pt x="52" y="62"/>
                </a:cubicBezTo>
                <a:cubicBezTo>
                  <a:pt x="55" y="64"/>
                  <a:pt x="55" y="64"/>
                  <a:pt x="55" y="64"/>
                </a:cubicBezTo>
                <a:cubicBezTo>
                  <a:pt x="60" y="68"/>
                  <a:pt x="62" y="75"/>
                  <a:pt x="59" y="80"/>
                </a:cubicBezTo>
                <a:cubicBezTo>
                  <a:pt x="55" y="87"/>
                  <a:pt x="46" y="89"/>
                  <a:pt x="40" y="84"/>
                </a:cubicBezTo>
                <a:cubicBezTo>
                  <a:pt x="37" y="82"/>
                  <a:pt x="37" y="82"/>
                  <a:pt x="37" y="82"/>
                </a:cubicBezTo>
                <a:cubicBezTo>
                  <a:pt x="33" y="79"/>
                  <a:pt x="28" y="79"/>
                  <a:pt x="25" y="84"/>
                </a:cubicBezTo>
                <a:cubicBezTo>
                  <a:pt x="24" y="86"/>
                  <a:pt x="23" y="88"/>
                  <a:pt x="22" y="90"/>
                </a:cubicBezTo>
                <a:cubicBezTo>
                  <a:pt x="19" y="94"/>
                  <a:pt x="21" y="99"/>
                  <a:pt x="26" y="101"/>
                </a:cubicBezTo>
                <a:cubicBezTo>
                  <a:pt x="29" y="102"/>
                  <a:pt x="29" y="102"/>
                  <a:pt x="29" y="102"/>
                </a:cubicBezTo>
                <a:cubicBezTo>
                  <a:pt x="35" y="105"/>
                  <a:pt x="38" y="111"/>
                  <a:pt x="37" y="117"/>
                </a:cubicBezTo>
                <a:cubicBezTo>
                  <a:pt x="35" y="125"/>
                  <a:pt x="27" y="129"/>
                  <a:pt x="20" y="126"/>
                </a:cubicBezTo>
                <a:cubicBezTo>
                  <a:pt x="17" y="124"/>
                  <a:pt x="17" y="124"/>
                  <a:pt x="17" y="124"/>
                </a:cubicBezTo>
                <a:cubicBezTo>
                  <a:pt x="12" y="122"/>
                  <a:pt x="7" y="125"/>
                  <a:pt x="6" y="129"/>
                </a:cubicBezTo>
                <a:cubicBezTo>
                  <a:pt x="5" y="132"/>
                  <a:pt x="5" y="134"/>
                  <a:pt x="4" y="136"/>
                </a:cubicBezTo>
                <a:cubicBezTo>
                  <a:pt x="3" y="141"/>
                  <a:pt x="6" y="145"/>
                  <a:pt x="11" y="146"/>
                </a:cubicBezTo>
                <a:cubicBezTo>
                  <a:pt x="15" y="146"/>
                  <a:pt x="15" y="146"/>
                  <a:pt x="15" y="146"/>
                </a:cubicBezTo>
                <a:cubicBezTo>
                  <a:pt x="22" y="147"/>
                  <a:pt x="27" y="154"/>
                  <a:pt x="26" y="160"/>
                </a:cubicBezTo>
                <a:cubicBezTo>
                  <a:pt x="31" y="165"/>
                  <a:pt x="27" y="173"/>
                  <a:pt x="20" y="172"/>
                </a:cubicBezTo>
                <a:cubicBezTo>
                  <a:pt x="9" y="171"/>
                  <a:pt x="9" y="171"/>
                  <a:pt x="9" y="171"/>
                </a:cubicBezTo>
                <a:cubicBezTo>
                  <a:pt x="4" y="170"/>
                  <a:pt x="0" y="174"/>
                  <a:pt x="0" y="179"/>
                </a:cubicBezTo>
                <a:cubicBezTo>
                  <a:pt x="0" y="181"/>
                  <a:pt x="0" y="184"/>
                  <a:pt x="1" y="186"/>
                </a:cubicBezTo>
                <a:cubicBezTo>
                  <a:pt x="1" y="191"/>
                  <a:pt x="5" y="194"/>
                  <a:pt x="10" y="193"/>
                </a:cubicBezTo>
                <a:cubicBezTo>
                  <a:pt x="14" y="193"/>
                  <a:pt x="14" y="193"/>
                  <a:pt x="14" y="193"/>
                </a:cubicBezTo>
                <a:cubicBezTo>
                  <a:pt x="21" y="192"/>
                  <a:pt x="27" y="196"/>
                  <a:pt x="29" y="203"/>
                </a:cubicBezTo>
                <a:cubicBezTo>
                  <a:pt x="30" y="210"/>
                  <a:pt x="25" y="216"/>
                  <a:pt x="18" y="218"/>
                </a:cubicBezTo>
                <a:cubicBezTo>
                  <a:pt x="15" y="218"/>
                  <a:pt x="15" y="218"/>
                  <a:pt x="15" y="218"/>
                </a:cubicBezTo>
                <a:cubicBezTo>
                  <a:pt x="10" y="219"/>
                  <a:pt x="7" y="224"/>
                  <a:pt x="9" y="228"/>
                </a:cubicBezTo>
                <a:cubicBezTo>
                  <a:pt x="9" y="231"/>
                  <a:pt x="10" y="233"/>
                  <a:pt x="11" y="235"/>
                </a:cubicBezTo>
                <a:cubicBezTo>
                  <a:pt x="13" y="239"/>
                  <a:pt x="18" y="241"/>
                  <a:pt x="22" y="239"/>
                </a:cubicBezTo>
                <a:cubicBezTo>
                  <a:pt x="26" y="238"/>
                  <a:pt x="26" y="238"/>
                  <a:pt x="26" y="238"/>
                </a:cubicBezTo>
                <a:cubicBezTo>
                  <a:pt x="32" y="235"/>
                  <a:pt x="40" y="237"/>
                  <a:pt x="43" y="243"/>
                </a:cubicBezTo>
                <a:cubicBezTo>
                  <a:pt x="43" y="243"/>
                  <a:pt x="43" y="243"/>
                  <a:pt x="43" y="243"/>
                </a:cubicBezTo>
                <a:cubicBezTo>
                  <a:pt x="46" y="250"/>
                  <a:pt x="43" y="257"/>
                  <a:pt x="37" y="260"/>
                </a:cubicBezTo>
                <a:cubicBezTo>
                  <a:pt x="34" y="262"/>
                  <a:pt x="34" y="262"/>
                  <a:pt x="34" y="262"/>
                </a:cubicBezTo>
                <a:cubicBezTo>
                  <a:pt x="29" y="264"/>
                  <a:pt x="28" y="269"/>
                  <a:pt x="31" y="273"/>
                </a:cubicBezTo>
                <a:cubicBezTo>
                  <a:pt x="32" y="275"/>
                  <a:pt x="33" y="277"/>
                  <a:pt x="35" y="279"/>
                </a:cubicBezTo>
                <a:cubicBezTo>
                  <a:pt x="38" y="283"/>
                  <a:pt x="43" y="283"/>
                  <a:pt x="47" y="280"/>
                </a:cubicBezTo>
                <a:cubicBezTo>
                  <a:pt x="50" y="277"/>
                  <a:pt x="50" y="277"/>
                  <a:pt x="50" y="277"/>
                </a:cubicBezTo>
                <a:cubicBezTo>
                  <a:pt x="55" y="273"/>
                  <a:pt x="63" y="273"/>
                  <a:pt x="67" y="278"/>
                </a:cubicBezTo>
                <a:cubicBezTo>
                  <a:pt x="72" y="283"/>
                  <a:pt x="72" y="291"/>
                  <a:pt x="67" y="296"/>
                </a:cubicBezTo>
                <a:cubicBezTo>
                  <a:pt x="64" y="298"/>
                  <a:pt x="64" y="298"/>
                  <a:pt x="64" y="298"/>
                </a:cubicBezTo>
                <a:cubicBezTo>
                  <a:pt x="61" y="302"/>
                  <a:pt x="61" y="307"/>
                  <a:pt x="65" y="310"/>
                </a:cubicBezTo>
                <a:cubicBezTo>
                  <a:pt x="66" y="312"/>
                  <a:pt x="68" y="313"/>
                  <a:pt x="70" y="315"/>
                </a:cubicBezTo>
                <a:cubicBezTo>
                  <a:pt x="74" y="318"/>
                  <a:pt x="79" y="316"/>
                  <a:pt x="82" y="312"/>
                </a:cubicBezTo>
                <a:cubicBezTo>
                  <a:pt x="84" y="309"/>
                  <a:pt x="84" y="309"/>
                  <a:pt x="84" y="309"/>
                </a:cubicBezTo>
                <a:cubicBezTo>
                  <a:pt x="87" y="304"/>
                  <a:pt x="93" y="301"/>
                  <a:pt x="99" y="304"/>
                </a:cubicBezTo>
                <a:cubicBezTo>
                  <a:pt x="107" y="307"/>
                  <a:pt x="109" y="315"/>
                  <a:pt x="105" y="322"/>
                </a:cubicBezTo>
                <a:cubicBezTo>
                  <a:pt x="104" y="325"/>
                  <a:pt x="104" y="325"/>
                  <a:pt x="104" y="325"/>
                </a:cubicBezTo>
                <a:cubicBezTo>
                  <a:pt x="101" y="329"/>
                  <a:pt x="103" y="334"/>
                  <a:pt x="107" y="336"/>
                </a:cubicBezTo>
                <a:cubicBezTo>
                  <a:pt x="109" y="337"/>
                  <a:pt x="112" y="338"/>
                  <a:pt x="114" y="339"/>
                </a:cubicBezTo>
                <a:cubicBezTo>
                  <a:pt x="118" y="341"/>
                  <a:pt x="123" y="338"/>
                  <a:pt x="124" y="334"/>
                </a:cubicBezTo>
                <a:cubicBezTo>
                  <a:pt x="125" y="330"/>
                  <a:pt x="125" y="330"/>
                  <a:pt x="125" y="330"/>
                </a:cubicBezTo>
                <a:cubicBezTo>
                  <a:pt x="127" y="323"/>
                  <a:pt x="134" y="319"/>
                  <a:pt x="141" y="321"/>
                </a:cubicBezTo>
                <a:cubicBezTo>
                  <a:pt x="141" y="321"/>
                  <a:pt x="141" y="321"/>
                  <a:pt x="141" y="321"/>
                </a:cubicBezTo>
                <a:cubicBezTo>
                  <a:pt x="147" y="322"/>
                  <a:pt x="151" y="329"/>
                  <a:pt x="150" y="336"/>
                </a:cubicBezTo>
                <a:cubicBezTo>
                  <a:pt x="149" y="339"/>
                  <a:pt x="149" y="339"/>
                  <a:pt x="149" y="339"/>
                </a:cubicBezTo>
                <a:cubicBezTo>
                  <a:pt x="148" y="344"/>
                  <a:pt x="151" y="349"/>
                  <a:pt x="156" y="349"/>
                </a:cubicBezTo>
                <a:cubicBezTo>
                  <a:pt x="158" y="350"/>
                  <a:pt x="160" y="350"/>
                  <a:pt x="163" y="350"/>
                </a:cubicBezTo>
                <a:cubicBezTo>
                  <a:pt x="167" y="350"/>
                  <a:pt x="171" y="347"/>
                  <a:pt x="171" y="342"/>
                </a:cubicBezTo>
                <a:cubicBezTo>
                  <a:pt x="171" y="338"/>
                  <a:pt x="171" y="338"/>
                  <a:pt x="171" y="338"/>
                </a:cubicBezTo>
                <a:cubicBezTo>
                  <a:pt x="171" y="331"/>
                  <a:pt x="176" y="325"/>
                  <a:pt x="183" y="325"/>
                </a:cubicBezTo>
                <a:cubicBezTo>
                  <a:pt x="190" y="325"/>
                  <a:pt x="196" y="330"/>
                  <a:pt x="196" y="337"/>
                </a:cubicBezTo>
                <a:cubicBezTo>
                  <a:pt x="196" y="341"/>
                  <a:pt x="196" y="341"/>
                  <a:pt x="196" y="341"/>
                </a:cubicBezTo>
                <a:cubicBezTo>
                  <a:pt x="196" y="345"/>
                  <a:pt x="201" y="349"/>
                  <a:pt x="205" y="348"/>
                </a:cubicBezTo>
                <a:cubicBezTo>
                  <a:pt x="208" y="348"/>
                  <a:pt x="210" y="347"/>
                  <a:pt x="212" y="347"/>
                </a:cubicBezTo>
                <a:cubicBezTo>
                  <a:pt x="217" y="346"/>
                  <a:pt x="220" y="341"/>
                  <a:pt x="218" y="337"/>
                </a:cubicBezTo>
                <a:cubicBezTo>
                  <a:pt x="217" y="333"/>
                  <a:pt x="217" y="333"/>
                  <a:pt x="217" y="333"/>
                </a:cubicBezTo>
                <a:cubicBezTo>
                  <a:pt x="215" y="326"/>
                  <a:pt x="218" y="319"/>
                  <a:pt x="225" y="317"/>
                </a:cubicBezTo>
                <a:cubicBezTo>
                  <a:pt x="232" y="315"/>
                  <a:pt x="239" y="318"/>
                  <a:pt x="241" y="325"/>
                </a:cubicBezTo>
                <a:cubicBezTo>
                  <a:pt x="242" y="328"/>
                  <a:pt x="242" y="328"/>
                  <a:pt x="242" y="328"/>
                </a:cubicBezTo>
                <a:cubicBezTo>
                  <a:pt x="243" y="333"/>
                  <a:pt x="249" y="335"/>
                  <a:pt x="253" y="333"/>
                </a:cubicBezTo>
                <a:cubicBezTo>
                  <a:pt x="255" y="332"/>
                  <a:pt x="257" y="331"/>
                  <a:pt x="259" y="330"/>
                </a:cubicBezTo>
                <a:cubicBezTo>
                  <a:pt x="263" y="328"/>
                  <a:pt x="265" y="322"/>
                  <a:pt x="262" y="318"/>
                </a:cubicBezTo>
                <a:cubicBezTo>
                  <a:pt x="260" y="315"/>
                  <a:pt x="260" y="315"/>
                  <a:pt x="260" y="315"/>
                </a:cubicBezTo>
                <a:cubicBezTo>
                  <a:pt x="256" y="309"/>
                  <a:pt x="257" y="301"/>
                  <a:pt x="263" y="297"/>
                </a:cubicBezTo>
                <a:cubicBezTo>
                  <a:pt x="269" y="294"/>
                  <a:pt x="276" y="295"/>
                  <a:pt x="280" y="301"/>
                </a:cubicBezTo>
                <a:cubicBezTo>
                  <a:pt x="282" y="304"/>
                  <a:pt x="282" y="304"/>
                  <a:pt x="282" y="304"/>
                </a:cubicBezTo>
                <a:cubicBezTo>
                  <a:pt x="285" y="308"/>
                  <a:pt x="291" y="308"/>
                  <a:pt x="294" y="305"/>
                </a:cubicBezTo>
                <a:cubicBezTo>
                  <a:pt x="294" y="305"/>
                  <a:pt x="294" y="305"/>
                  <a:pt x="294" y="305"/>
                </a:cubicBezTo>
                <a:cubicBezTo>
                  <a:pt x="296" y="304"/>
                  <a:pt x="298" y="302"/>
                  <a:pt x="299" y="300"/>
                </a:cubicBezTo>
                <a:cubicBezTo>
                  <a:pt x="303" y="297"/>
                  <a:pt x="302" y="292"/>
                  <a:pt x="299" y="289"/>
                </a:cubicBezTo>
                <a:cubicBezTo>
                  <a:pt x="295" y="286"/>
                  <a:pt x="295" y="286"/>
                  <a:pt x="295" y="286"/>
                </a:cubicBezTo>
                <a:cubicBezTo>
                  <a:pt x="290" y="281"/>
                  <a:pt x="289" y="273"/>
                  <a:pt x="294" y="268"/>
                </a:cubicBezTo>
                <a:cubicBezTo>
                  <a:pt x="298" y="263"/>
                  <a:pt x="306" y="262"/>
                  <a:pt x="311" y="266"/>
                </a:cubicBezTo>
                <a:cubicBezTo>
                  <a:pt x="314" y="269"/>
                  <a:pt x="314" y="269"/>
                  <a:pt x="314" y="269"/>
                </a:cubicBezTo>
                <a:cubicBezTo>
                  <a:pt x="318" y="272"/>
                  <a:pt x="323" y="271"/>
                  <a:pt x="326" y="267"/>
                </a:cubicBezTo>
                <a:cubicBezTo>
                  <a:pt x="327" y="265"/>
                  <a:pt x="328" y="263"/>
                  <a:pt x="329" y="261"/>
                </a:cubicBezTo>
                <a:cubicBezTo>
                  <a:pt x="331" y="256"/>
                  <a:pt x="330" y="251"/>
                  <a:pt x="325" y="249"/>
                </a:cubicBezTo>
                <a:cubicBezTo>
                  <a:pt x="321" y="248"/>
                  <a:pt x="321" y="248"/>
                  <a:pt x="321" y="248"/>
                </a:cubicBezTo>
                <a:cubicBezTo>
                  <a:pt x="315" y="245"/>
                  <a:pt x="312" y="238"/>
                  <a:pt x="315" y="231"/>
                </a:cubicBezTo>
                <a:cubicBezTo>
                  <a:pt x="317" y="225"/>
                  <a:pt x="325" y="222"/>
                  <a:pt x="331" y="225"/>
                </a:cubicBezTo>
                <a:cubicBezTo>
                  <a:pt x="334" y="226"/>
                  <a:pt x="334" y="226"/>
                  <a:pt x="334" y="226"/>
                </a:cubicBezTo>
                <a:cubicBezTo>
                  <a:pt x="339" y="228"/>
                  <a:pt x="344" y="225"/>
                  <a:pt x="345" y="221"/>
                </a:cubicBezTo>
                <a:cubicBezTo>
                  <a:pt x="346" y="218"/>
                  <a:pt x="346" y="216"/>
                  <a:pt x="347" y="214"/>
                </a:cubicBezTo>
                <a:cubicBezTo>
                  <a:pt x="348" y="209"/>
                  <a:pt x="345" y="205"/>
                  <a:pt x="340" y="204"/>
                </a:cubicBezTo>
                <a:cubicBezTo>
                  <a:pt x="336" y="204"/>
                  <a:pt x="336" y="204"/>
                  <a:pt x="336" y="204"/>
                </a:cubicBezTo>
                <a:cubicBezTo>
                  <a:pt x="329" y="203"/>
                  <a:pt x="324" y="197"/>
                  <a:pt x="325" y="190"/>
                </a:cubicBezTo>
                <a:cubicBezTo>
                  <a:pt x="320" y="185"/>
                  <a:pt x="324" y="177"/>
                  <a:pt x="331" y="178"/>
                </a:cubicBezTo>
                <a:cubicBezTo>
                  <a:pt x="342" y="179"/>
                  <a:pt x="342" y="179"/>
                  <a:pt x="342" y="179"/>
                </a:cubicBezTo>
                <a:cubicBezTo>
                  <a:pt x="347" y="180"/>
                  <a:pt x="351" y="176"/>
                  <a:pt x="351" y="171"/>
                </a:cubicBezTo>
                <a:cubicBezTo>
                  <a:pt x="351" y="169"/>
                  <a:pt x="351" y="166"/>
                  <a:pt x="350" y="164"/>
                </a:cubicBezTo>
                <a:cubicBezTo>
                  <a:pt x="350" y="159"/>
                  <a:pt x="346" y="156"/>
                  <a:pt x="341" y="157"/>
                </a:cubicBezTo>
                <a:cubicBezTo>
                  <a:pt x="337" y="157"/>
                  <a:pt x="337" y="157"/>
                  <a:pt x="337" y="157"/>
                </a:cubicBezTo>
                <a:cubicBezTo>
                  <a:pt x="331" y="158"/>
                  <a:pt x="325" y="155"/>
                  <a:pt x="323" y="149"/>
                </a:cubicBezTo>
                <a:cubicBezTo>
                  <a:pt x="320" y="142"/>
                  <a:pt x="325" y="134"/>
                  <a:pt x="333" y="133"/>
                </a:cubicBezTo>
                <a:cubicBezTo>
                  <a:pt x="336" y="132"/>
                  <a:pt x="336" y="132"/>
                  <a:pt x="336" y="132"/>
                </a:cubicBezTo>
                <a:cubicBezTo>
                  <a:pt x="341" y="131"/>
                  <a:pt x="344" y="127"/>
                  <a:pt x="342" y="122"/>
                </a:cubicBezTo>
                <a:cubicBezTo>
                  <a:pt x="341" y="120"/>
                  <a:pt x="341" y="117"/>
                  <a:pt x="340" y="115"/>
                </a:cubicBezTo>
                <a:cubicBezTo>
                  <a:pt x="338" y="111"/>
                  <a:pt x="333" y="109"/>
                  <a:pt x="329" y="111"/>
                </a:cubicBezTo>
                <a:cubicBezTo>
                  <a:pt x="325" y="113"/>
                  <a:pt x="325" y="113"/>
                  <a:pt x="325" y="113"/>
                </a:cubicBezTo>
                <a:cubicBezTo>
                  <a:pt x="320" y="115"/>
                  <a:pt x="313" y="114"/>
                  <a:pt x="310" y="109"/>
                </a:cubicBezTo>
                <a:cubicBezTo>
                  <a:pt x="305" y="102"/>
                  <a:pt x="307" y="93"/>
                  <a:pt x="314" y="90"/>
                </a:cubicBezTo>
                <a:cubicBezTo>
                  <a:pt x="317" y="88"/>
                  <a:pt x="317" y="88"/>
                  <a:pt x="317" y="88"/>
                </a:cubicBezTo>
                <a:cubicBezTo>
                  <a:pt x="321" y="86"/>
                  <a:pt x="323" y="81"/>
                  <a:pt x="320" y="77"/>
                </a:cubicBezTo>
                <a:cubicBezTo>
                  <a:pt x="319" y="75"/>
                  <a:pt x="317" y="73"/>
                  <a:pt x="316" y="71"/>
                </a:cubicBezTo>
                <a:cubicBezTo>
                  <a:pt x="313" y="67"/>
                  <a:pt x="308" y="67"/>
                  <a:pt x="304" y="70"/>
                </a:cubicBezTo>
                <a:cubicBezTo>
                  <a:pt x="301" y="73"/>
                  <a:pt x="301" y="73"/>
                  <a:pt x="301" y="73"/>
                </a:cubicBezTo>
                <a:cubicBezTo>
                  <a:pt x="296" y="78"/>
                  <a:pt x="288" y="77"/>
                  <a:pt x="283" y="72"/>
                </a:cubicBezTo>
                <a:cubicBezTo>
                  <a:pt x="279" y="67"/>
                  <a:pt x="279" y="59"/>
                  <a:pt x="284" y="54"/>
                </a:cubicBezTo>
                <a:cubicBezTo>
                  <a:pt x="287" y="52"/>
                  <a:pt x="287" y="52"/>
                  <a:pt x="287" y="52"/>
                </a:cubicBezTo>
                <a:cubicBezTo>
                  <a:pt x="290" y="49"/>
                  <a:pt x="290" y="43"/>
                  <a:pt x="286" y="40"/>
                </a:cubicBezTo>
                <a:cubicBezTo>
                  <a:pt x="285" y="38"/>
                  <a:pt x="283" y="37"/>
                  <a:pt x="281" y="36"/>
                </a:cubicBezTo>
                <a:cubicBezTo>
                  <a:pt x="277" y="33"/>
                  <a:pt x="272" y="34"/>
                  <a:pt x="269" y="38"/>
                </a:cubicBezTo>
                <a:cubicBezTo>
                  <a:pt x="267" y="41"/>
                  <a:pt x="267" y="41"/>
                  <a:pt x="267" y="41"/>
                </a:cubicBezTo>
                <a:cubicBezTo>
                  <a:pt x="264" y="46"/>
                  <a:pt x="258" y="49"/>
                  <a:pt x="252" y="47"/>
                </a:cubicBezTo>
                <a:cubicBezTo>
                  <a:pt x="244" y="44"/>
                  <a:pt x="242" y="35"/>
                  <a:pt x="246" y="28"/>
                </a:cubicBezTo>
                <a:cubicBezTo>
                  <a:pt x="247" y="25"/>
                  <a:pt x="247" y="25"/>
                  <a:pt x="247" y="25"/>
                </a:cubicBezTo>
                <a:cubicBezTo>
                  <a:pt x="250" y="21"/>
                  <a:pt x="248" y="16"/>
                  <a:pt x="244" y="14"/>
                </a:cubicBezTo>
                <a:cubicBezTo>
                  <a:pt x="241" y="13"/>
                  <a:pt x="239" y="12"/>
                  <a:pt x="237" y="11"/>
                </a:cubicBezTo>
                <a:cubicBezTo>
                  <a:pt x="233" y="10"/>
                  <a:pt x="228" y="12"/>
                  <a:pt x="227" y="17"/>
                </a:cubicBezTo>
                <a:cubicBezTo>
                  <a:pt x="226" y="20"/>
                  <a:pt x="226" y="20"/>
                  <a:pt x="226" y="20"/>
                </a:cubicBezTo>
                <a:cubicBezTo>
                  <a:pt x="224" y="26"/>
                  <a:pt x="218" y="31"/>
                  <a:pt x="212" y="30"/>
                </a:cubicBezTo>
                <a:cubicBezTo>
                  <a:pt x="204" y="29"/>
                  <a:pt x="199" y="22"/>
                  <a:pt x="201" y="14"/>
                </a:cubicBezTo>
                <a:cubicBezTo>
                  <a:pt x="202" y="11"/>
                  <a:pt x="202" y="11"/>
                  <a:pt x="202" y="11"/>
                </a:cubicBezTo>
                <a:cubicBezTo>
                  <a:pt x="203" y="6"/>
                  <a:pt x="200" y="1"/>
                  <a:pt x="195" y="1"/>
                </a:cubicBezTo>
                <a:cubicBezTo>
                  <a:pt x="193" y="1"/>
                  <a:pt x="191" y="0"/>
                  <a:pt x="188" y="0"/>
                </a:cubicBezTo>
                <a:cubicBezTo>
                  <a:pt x="184" y="0"/>
                  <a:pt x="180" y="4"/>
                  <a:pt x="180" y="8"/>
                </a:cubicBezTo>
                <a:cubicBezTo>
                  <a:pt x="180" y="12"/>
                  <a:pt x="180" y="12"/>
                  <a:pt x="180" y="12"/>
                </a:cubicBezTo>
                <a:cubicBezTo>
                  <a:pt x="180" y="18"/>
                  <a:pt x="176" y="24"/>
                  <a:pt x="170" y="25"/>
                </a:cubicBezTo>
                <a:cubicBezTo>
                  <a:pt x="162" y="27"/>
                  <a:pt x="155" y="21"/>
                  <a:pt x="155" y="13"/>
                </a:cubicBezTo>
                <a:cubicBezTo>
                  <a:pt x="155" y="10"/>
                  <a:pt x="155" y="10"/>
                  <a:pt x="155" y="10"/>
                </a:cubicBezTo>
                <a:cubicBezTo>
                  <a:pt x="155" y="5"/>
                  <a:pt x="150" y="1"/>
                  <a:pt x="145" y="2"/>
                </a:cubicBezTo>
                <a:cubicBezTo>
                  <a:pt x="143" y="2"/>
                  <a:pt x="141" y="3"/>
                  <a:pt x="138" y="3"/>
                </a:cubicBezTo>
                <a:cubicBezTo>
                  <a:pt x="134" y="4"/>
                  <a:pt x="131" y="9"/>
                  <a:pt x="133" y="13"/>
                </a:cubicBezTo>
                <a:cubicBezTo>
                  <a:pt x="134" y="18"/>
                  <a:pt x="134" y="18"/>
                  <a:pt x="134" y="18"/>
                </a:cubicBezTo>
                <a:cubicBezTo>
                  <a:pt x="136" y="24"/>
                  <a:pt x="132" y="31"/>
                  <a:pt x="126" y="33"/>
                </a:cubicBezTo>
                <a:cubicBezTo>
                  <a:pt x="121" y="38"/>
                  <a:pt x="113" y="36"/>
                  <a:pt x="111" y="29"/>
                </a:cubicBezTo>
                <a:cubicBezTo>
                  <a:pt x="109" y="22"/>
                  <a:pt x="109" y="22"/>
                  <a:pt x="109" y="22"/>
                </a:cubicBezTo>
                <a:cubicBezTo>
                  <a:pt x="107" y="17"/>
                  <a:pt x="102" y="15"/>
                  <a:pt x="98" y="17"/>
                </a:cubicBezTo>
                <a:cubicBezTo>
                  <a:pt x="96" y="18"/>
                  <a:pt x="94" y="19"/>
                  <a:pt x="92" y="20"/>
                </a:cubicBezTo>
                <a:cubicBezTo>
                  <a:pt x="88" y="23"/>
                  <a:pt x="86" y="28"/>
                  <a:pt x="89" y="32"/>
                </a:cubicBezTo>
                <a:cubicBezTo>
                  <a:pt x="91" y="35"/>
                  <a:pt x="91" y="35"/>
                  <a:pt x="91" y="35"/>
                </a:cubicBezTo>
                <a:cubicBezTo>
                  <a:pt x="96" y="42"/>
                  <a:pt x="93" y="51"/>
                  <a:pt x="86" y="54"/>
                </a:cubicBezTo>
                <a:cubicBezTo>
                  <a:pt x="81" y="56"/>
                  <a:pt x="74" y="54"/>
                  <a:pt x="70" y="49"/>
                </a:cubicBezTo>
                <a:cubicBezTo>
                  <a:pt x="69" y="47"/>
                  <a:pt x="69" y="47"/>
                  <a:pt x="69" y="47"/>
                </a:cubicBezTo>
                <a:cubicBezTo>
                  <a:pt x="66" y="43"/>
                  <a:pt x="60" y="42"/>
                  <a:pt x="57" y="45"/>
                </a:cubicBezTo>
                <a:cubicBezTo>
                  <a:pt x="57" y="45"/>
                  <a:pt x="57" y="45"/>
                  <a:pt x="57" y="45"/>
                </a:cubicBezTo>
                <a:cubicBezTo>
                  <a:pt x="55" y="47"/>
                  <a:pt x="53" y="48"/>
                  <a:pt x="52" y="50"/>
                </a:cubicBezTo>
                <a:close/>
                <a:moveTo>
                  <a:pt x="215" y="283"/>
                </a:moveTo>
                <a:cubicBezTo>
                  <a:pt x="208" y="285"/>
                  <a:pt x="201" y="282"/>
                  <a:pt x="199" y="275"/>
                </a:cubicBezTo>
                <a:cubicBezTo>
                  <a:pt x="197" y="269"/>
                  <a:pt x="200" y="262"/>
                  <a:pt x="207" y="260"/>
                </a:cubicBezTo>
                <a:cubicBezTo>
                  <a:pt x="213" y="258"/>
                  <a:pt x="220" y="261"/>
                  <a:pt x="222" y="267"/>
                </a:cubicBezTo>
                <a:cubicBezTo>
                  <a:pt x="224" y="274"/>
                  <a:pt x="221" y="281"/>
                  <a:pt x="215" y="283"/>
                </a:cubicBezTo>
                <a:close/>
                <a:moveTo>
                  <a:pt x="274" y="207"/>
                </a:moveTo>
                <a:cubicBezTo>
                  <a:pt x="280" y="210"/>
                  <a:pt x="283" y="217"/>
                  <a:pt x="280" y="223"/>
                </a:cubicBezTo>
                <a:cubicBezTo>
                  <a:pt x="277" y="229"/>
                  <a:pt x="270" y="232"/>
                  <a:pt x="264" y="229"/>
                </a:cubicBezTo>
                <a:cubicBezTo>
                  <a:pt x="258" y="226"/>
                  <a:pt x="255" y="219"/>
                  <a:pt x="258" y="213"/>
                </a:cubicBezTo>
                <a:cubicBezTo>
                  <a:pt x="261" y="206"/>
                  <a:pt x="268" y="204"/>
                  <a:pt x="274" y="207"/>
                </a:cubicBezTo>
                <a:close/>
                <a:moveTo>
                  <a:pt x="227" y="219"/>
                </a:moveTo>
                <a:cubicBezTo>
                  <a:pt x="230" y="222"/>
                  <a:pt x="230" y="227"/>
                  <a:pt x="227" y="230"/>
                </a:cubicBezTo>
                <a:cubicBezTo>
                  <a:pt x="224" y="233"/>
                  <a:pt x="218" y="233"/>
                  <a:pt x="215" y="229"/>
                </a:cubicBezTo>
                <a:cubicBezTo>
                  <a:pt x="213" y="226"/>
                  <a:pt x="213" y="221"/>
                  <a:pt x="216" y="218"/>
                </a:cubicBezTo>
                <a:cubicBezTo>
                  <a:pt x="219" y="215"/>
                  <a:pt x="224" y="215"/>
                  <a:pt x="227" y="219"/>
                </a:cubicBezTo>
                <a:close/>
                <a:moveTo>
                  <a:pt x="107" y="164"/>
                </a:moveTo>
                <a:cubicBezTo>
                  <a:pt x="111" y="164"/>
                  <a:pt x="115" y="168"/>
                  <a:pt x="115" y="172"/>
                </a:cubicBezTo>
                <a:cubicBezTo>
                  <a:pt x="114" y="176"/>
                  <a:pt x="111" y="180"/>
                  <a:pt x="106" y="180"/>
                </a:cubicBezTo>
                <a:cubicBezTo>
                  <a:pt x="102" y="179"/>
                  <a:pt x="99" y="176"/>
                  <a:pt x="99" y="171"/>
                </a:cubicBezTo>
                <a:cubicBezTo>
                  <a:pt x="99" y="167"/>
                  <a:pt x="103" y="164"/>
                  <a:pt x="107" y="164"/>
                </a:cubicBezTo>
                <a:close/>
                <a:moveTo>
                  <a:pt x="82" y="221"/>
                </a:moveTo>
                <a:cubicBezTo>
                  <a:pt x="75" y="223"/>
                  <a:pt x="68" y="220"/>
                  <a:pt x="66" y="214"/>
                </a:cubicBezTo>
                <a:cubicBezTo>
                  <a:pt x="64" y="208"/>
                  <a:pt x="67" y="201"/>
                  <a:pt x="74" y="198"/>
                </a:cubicBezTo>
                <a:cubicBezTo>
                  <a:pt x="80" y="196"/>
                  <a:pt x="87" y="199"/>
                  <a:pt x="89" y="206"/>
                </a:cubicBezTo>
                <a:cubicBezTo>
                  <a:pt x="91" y="212"/>
                  <a:pt x="88" y="219"/>
                  <a:pt x="82" y="221"/>
                </a:cubicBezTo>
                <a:close/>
                <a:moveTo>
                  <a:pt x="119" y="226"/>
                </a:moveTo>
                <a:cubicBezTo>
                  <a:pt x="116" y="223"/>
                  <a:pt x="116" y="218"/>
                  <a:pt x="120" y="215"/>
                </a:cubicBezTo>
                <a:cubicBezTo>
                  <a:pt x="123" y="212"/>
                  <a:pt x="128" y="212"/>
                  <a:pt x="131" y="215"/>
                </a:cubicBezTo>
                <a:cubicBezTo>
                  <a:pt x="134" y="219"/>
                  <a:pt x="134" y="224"/>
                  <a:pt x="130" y="227"/>
                </a:cubicBezTo>
                <a:cubicBezTo>
                  <a:pt x="127" y="229"/>
                  <a:pt x="122" y="229"/>
                  <a:pt x="119" y="226"/>
                </a:cubicBezTo>
                <a:close/>
                <a:moveTo>
                  <a:pt x="126" y="279"/>
                </a:moveTo>
                <a:cubicBezTo>
                  <a:pt x="120" y="276"/>
                  <a:pt x="118" y="269"/>
                  <a:pt x="120" y="263"/>
                </a:cubicBezTo>
                <a:cubicBezTo>
                  <a:pt x="123" y="257"/>
                  <a:pt x="131" y="254"/>
                  <a:pt x="137" y="257"/>
                </a:cubicBezTo>
                <a:cubicBezTo>
                  <a:pt x="143" y="260"/>
                  <a:pt x="145" y="267"/>
                  <a:pt x="142" y="273"/>
                </a:cubicBezTo>
                <a:cubicBezTo>
                  <a:pt x="139" y="279"/>
                  <a:pt x="132" y="282"/>
                  <a:pt x="126" y="279"/>
                </a:cubicBezTo>
                <a:close/>
                <a:moveTo>
                  <a:pt x="172" y="250"/>
                </a:moveTo>
                <a:cubicBezTo>
                  <a:pt x="168" y="250"/>
                  <a:pt x="164" y="246"/>
                  <a:pt x="165" y="242"/>
                </a:cubicBezTo>
                <a:cubicBezTo>
                  <a:pt x="165" y="238"/>
                  <a:pt x="168" y="234"/>
                  <a:pt x="173" y="234"/>
                </a:cubicBezTo>
                <a:cubicBezTo>
                  <a:pt x="177" y="235"/>
                  <a:pt x="181" y="238"/>
                  <a:pt x="180" y="243"/>
                </a:cubicBezTo>
                <a:cubicBezTo>
                  <a:pt x="180" y="247"/>
                  <a:pt x="177" y="250"/>
                  <a:pt x="172" y="250"/>
                </a:cubicBezTo>
                <a:close/>
                <a:moveTo>
                  <a:pt x="251" y="177"/>
                </a:moveTo>
                <a:cubicBezTo>
                  <a:pt x="251" y="181"/>
                  <a:pt x="247" y="185"/>
                  <a:pt x="243" y="185"/>
                </a:cubicBezTo>
                <a:cubicBezTo>
                  <a:pt x="238" y="184"/>
                  <a:pt x="235" y="181"/>
                  <a:pt x="235" y="176"/>
                </a:cubicBezTo>
                <a:cubicBezTo>
                  <a:pt x="235" y="172"/>
                  <a:pt x="239" y="168"/>
                  <a:pt x="243" y="169"/>
                </a:cubicBezTo>
                <a:cubicBezTo>
                  <a:pt x="248" y="169"/>
                  <a:pt x="251" y="173"/>
                  <a:pt x="251" y="177"/>
                </a:cubicBezTo>
                <a:close/>
                <a:moveTo>
                  <a:pt x="268" y="127"/>
                </a:moveTo>
                <a:cubicBezTo>
                  <a:pt x="274" y="125"/>
                  <a:pt x="281" y="128"/>
                  <a:pt x="284" y="134"/>
                </a:cubicBezTo>
                <a:cubicBezTo>
                  <a:pt x="286" y="141"/>
                  <a:pt x="283" y="148"/>
                  <a:pt x="276" y="150"/>
                </a:cubicBezTo>
                <a:cubicBezTo>
                  <a:pt x="270" y="152"/>
                  <a:pt x="263" y="149"/>
                  <a:pt x="261" y="143"/>
                </a:cubicBezTo>
                <a:cubicBezTo>
                  <a:pt x="259" y="136"/>
                  <a:pt x="262" y="129"/>
                  <a:pt x="268" y="127"/>
                </a:cubicBezTo>
                <a:close/>
                <a:moveTo>
                  <a:pt x="231" y="122"/>
                </a:moveTo>
                <a:cubicBezTo>
                  <a:pt x="234" y="126"/>
                  <a:pt x="233" y="131"/>
                  <a:pt x="230" y="134"/>
                </a:cubicBezTo>
                <a:cubicBezTo>
                  <a:pt x="227" y="137"/>
                  <a:pt x="222" y="136"/>
                  <a:pt x="219" y="133"/>
                </a:cubicBezTo>
                <a:cubicBezTo>
                  <a:pt x="216" y="130"/>
                  <a:pt x="216" y="125"/>
                  <a:pt x="219" y="122"/>
                </a:cubicBezTo>
                <a:cubicBezTo>
                  <a:pt x="223" y="119"/>
                  <a:pt x="228" y="119"/>
                  <a:pt x="231" y="122"/>
                </a:cubicBezTo>
                <a:close/>
                <a:moveTo>
                  <a:pt x="202" y="150"/>
                </a:moveTo>
                <a:cubicBezTo>
                  <a:pt x="216" y="166"/>
                  <a:pt x="215" y="190"/>
                  <a:pt x="200" y="204"/>
                </a:cubicBezTo>
                <a:cubicBezTo>
                  <a:pt x="184" y="218"/>
                  <a:pt x="160" y="217"/>
                  <a:pt x="146" y="202"/>
                </a:cubicBezTo>
                <a:cubicBezTo>
                  <a:pt x="132" y="186"/>
                  <a:pt x="133" y="162"/>
                  <a:pt x="148" y="148"/>
                </a:cubicBezTo>
                <a:cubicBezTo>
                  <a:pt x="164" y="134"/>
                  <a:pt x="188" y="135"/>
                  <a:pt x="202" y="150"/>
                </a:cubicBezTo>
                <a:close/>
                <a:moveTo>
                  <a:pt x="224" y="69"/>
                </a:moveTo>
                <a:cubicBezTo>
                  <a:pt x="230" y="72"/>
                  <a:pt x="232" y="79"/>
                  <a:pt x="229" y="85"/>
                </a:cubicBezTo>
                <a:cubicBezTo>
                  <a:pt x="227" y="91"/>
                  <a:pt x="219" y="94"/>
                  <a:pt x="213" y="91"/>
                </a:cubicBezTo>
                <a:cubicBezTo>
                  <a:pt x="207" y="88"/>
                  <a:pt x="205" y="81"/>
                  <a:pt x="208" y="75"/>
                </a:cubicBezTo>
                <a:cubicBezTo>
                  <a:pt x="210" y="69"/>
                  <a:pt x="218" y="66"/>
                  <a:pt x="224" y="69"/>
                </a:cubicBezTo>
                <a:close/>
                <a:moveTo>
                  <a:pt x="178" y="98"/>
                </a:moveTo>
                <a:cubicBezTo>
                  <a:pt x="182" y="98"/>
                  <a:pt x="185" y="102"/>
                  <a:pt x="185" y="106"/>
                </a:cubicBezTo>
                <a:cubicBezTo>
                  <a:pt x="185" y="111"/>
                  <a:pt x="181" y="114"/>
                  <a:pt x="177" y="114"/>
                </a:cubicBezTo>
                <a:cubicBezTo>
                  <a:pt x="173" y="114"/>
                  <a:pt x="169" y="110"/>
                  <a:pt x="169" y="106"/>
                </a:cubicBezTo>
                <a:cubicBezTo>
                  <a:pt x="170" y="101"/>
                  <a:pt x="173" y="98"/>
                  <a:pt x="178" y="98"/>
                </a:cubicBezTo>
                <a:close/>
                <a:moveTo>
                  <a:pt x="134" y="119"/>
                </a:moveTo>
                <a:cubicBezTo>
                  <a:pt x="137" y="122"/>
                  <a:pt x="137" y="127"/>
                  <a:pt x="134" y="130"/>
                </a:cubicBezTo>
                <a:cubicBezTo>
                  <a:pt x="131" y="133"/>
                  <a:pt x="126" y="133"/>
                  <a:pt x="123" y="130"/>
                </a:cubicBezTo>
                <a:cubicBezTo>
                  <a:pt x="120" y="126"/>
                  <a:pt x="120" y="121"/>
                  <a:pt x="123" y="118"/>
                </a:cubicBezTo>
                <a:cubicBezTo>
                  <a:pt x="126" y="115"/>
                  <a:pt x="131" y="116"/>
                  <a:pt x="134" y="119"/>
                </a:cubicBezTo>
                <a:close/>
                <a:moveTo>
                  <a:pt x="76" y="142"/>
                </a:moveTo>
                <a:cubicBezTo>
                  <a:pt x="70" y="139"/>
                  <a:pt x="67" y="131"/>
                  <a:pt x="70" y="125"/>
                </a:cubicBezTo>
                <a:cubicBezTo>
                  <a:pt x="73" y="119"/>
                  <a:pt x="80" y="117"/>
                  <a:pt x="86" y="120"/>
                </a:cubicBezTo>
                <a:cubicBezTo>
                  <a:pt x="92" y="123"/>
                  <a:pt x="95" y="130"/>
                  <a:pt x="92" y="136"/>
                </a:cubicBezTo>
                <a:cubicBezTo>
                  <a:pt x="89" y="142"/>
                  <a:pt x="82" y="144"/>
                  <a:pt x="76" y="142"/>
                </a:cubicBezTo>
                <a:close/>
                <a:moveTo>
                  <a:pt x="135" y="65"/>
                </a:moveTo>
                <a:cubicBezTo>
                  <a:pt x="141" y="63"/>
                  <a:pt x="148" y="67"/>
                  <a:pt x="151" y="73"/>
                </a:cubicBezTo>
                <a:cubicBezTo>
                  <a:pt x="153" y="79"/>
                  <a:pt x="150" y="86"/>
                  <a:pt x="143" y="88"/>
                </a:cubicBezTo>
                <a:cubicBezTo>
                  <a:pt x="137" y="91"/>
                  <a:pt x="130" y="87"/>
                  <a:pt x="128" y="81"/>
                </a:cubicBezTo>
                <a:cubicBezTo>
                  <a:pt x="126" y="75"/>
                  <a:pt x="129" y="68"/>
                  <a:pt x="135" y="65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1798" kern="0">
              <a:solidFill>
                <a:srgbClr val="FFFFFF"/>
              </a:solidFill>
            </a:endParaRPr>
          </a:p>
        </p:txBody>
      </p:sp>
      <p:grpSp>
        <p:nvGrpSpPr>
          <p:cNvPr id="18" name="Group 34"/>
          <p:cNvGrpSpPr>
            <a:grpSpLocks noChangeAspect="1"/>
          </p:cNvGrpSpPr>
          <p:nvPr userDrawn="1"/>
        </p:nvGrpSpPr>
        <p:grpSpPr bwMode="auto">
          <a:xfrm>
            <a:off x="985818" y="3049306"/>
            <a:ext cx="267972" cy="267734"/>
            <a:chOff x="3490" y="1809"/>
            <a:chExt cx="708" cy="707"/>
          </a:xfrm>
          <a:solidFill>
            <a:schemeClr val="tx2">
              <a:lumMod val="50000"/>
            </a:schemeClr>
          </a:solidFill>
        </p:grpSpPr>
        <p:sp>
          <p:nvSpPr>
            <p:cNvPr id="19" name="Freeform 35"/>
            <p:cNvSpPr>
              <a:spLocks noEditPoints="1"/>
            </p:cNvSpPr>
            <p:nvPr/>
          </p:nvSpPr>
          <p:spPr bwMode="auto">
            <a:xfrm>
              <a:off x="3490" y="1809"/>
              <a:ext cx="708" cy="707"/>
            </a:xfrm>
            <a:custGeom>
              <a:avLst/>
              <a:gdLst>
                <a:gd name="T0" fmla="*/ 42 w 297"/>
                <a:gd name="T1" fmla="*/ 64 h 297"/>
                <a:gd name="T2" fmla="*/ 16 w 297"/>
                <a:gd name="T3" fmla="*/ 82 h 297"/>
                <a:gd name="T4" fmla="*/ 5 w 297"/>
                <a:gd name="T5" fmla="*/ 111 h 297"/>
                <a:gd name="T6" fmla="*/ 11 w 297"/>
                <a:gd name="T7" fmla="*/ 142 h 297"/>
                <a:gd name="T8" fmla="*/ 2 w 297"/>
                <a:gd name="T9" fmla="*/ 172 h 297"/>
                <a:gd name="T10" fmla="*/ 10 w 297"/>
                <a:gd name="T11" fmla="*/ 201 h 297"/>
                <a:gd name="T12" fmla="*/ 32 w 297"/>
                <a:gd name="T13" fmla="*/ 223 h 297"/>
                <a:gd name="T14" fmla="*/ 42 w 297"/>
                <a:gd name="T15" fmla="*/ 253 h 297"/>
                <a:gd name="T16" fmla="*/ 66 w 297"/>
                <a:gd name="T17" fmla="*/ 272 h 297"/>
                <a:gd name="T18" fmla="*/ 97 w 297"/>
                <a:gd name="T19" fmla="*/ 277 h 297"/>
                <a:gd name="T20" fmla="*/ 122 w 297"/>
                <a:gd name="T21" fmla="*/ 295 h 297"/>
                <a:gd name="T22" fmla="*/ 153 w 297"/>
                <a:gd name="T23" fmla="*/ 297 h 297"/>
                <a:gd name="T24" fmla="*/ 180 w 297"/>
                <a:gd name="T25" fmla="*/ 282 h 297"/>
                <a:gd name="T26" fmla="*/ 213 w 297"/>
                <a:gd name="T27" fmla="*/ 283 h 297"/>
                <a:gd name="T28" fmla="*/ 239 w 297"/>
                <a:gd name="T29" fmla="*/ 267 h 297"/>
                <a:gd name="T30" fmla="*/ 251 w 297"/>
                <a:gd name="T31" fmla="*/ 237 h 297"/>
                <a:gd name="T32" fmla="*/ 271 w 297"/>
                <a:gd name="T33" fmla="*/ 233 h 297"/>
                <a:gd name="T34" fmla="*/ 282 w 297"/>
                <a:gd name="T35" fmla="*/ 213 h 297"/>
                <a:gd name="T36" fmla="*/ 288 w 297"/>
                <a:gd name="T37" fmla="*/ 198 h 297"/>
                <a:gd name="T38" fmla="*/ 293 w 297"/>
                <a:gd name="T39" fmla="*/ 175 h 297"/>
                <a:gd name="T40" fmla="*/ 282 w 297"/>
                <a:gd name="T41" fmla="*/ 159 h 297"/>
                <a:gd name="T42" fmla="*/ 295 w 297"/>
                <a:gd name="T43" fmla="*/ 144 h 297"/>
                <a:gd name="T44" fmla="*/ 294 w 297"/>
                <a:gd name="T45" fmla="*/ 120 h 297"/>
                <a:gd name="T46" fmla="*/ 290 w 297"/>
                <a:gd name="T47" fmla="*/ 105 h 297"/>
                <a:gd name="T48" fmla="*/ 279 w 297"/>
                <a:gd name="T49" fmla="*/ 84 h 297"/>
                <a:gd name="T50" fmla="*/ 261 w 297"/>
                <a:gd name="T51" fmla="*/ 78 h 297"/>
                <a:gd name="T52" fmla="*/ 263 w 297"/>
                <a:gd name="T53" fmla="*/ 58 h 297"/>
                <a:gd name="T54" fmla="*/ 248 w 297"/>
                <a:gd name="T55" fmla="*/ 39 h 297"/>
                <a:gd name="T56" fmla="*/ 236 w 297"/>
                <a:gd name="T57" fmla="*/ 29 h 297"/>
                <a:gd name="T58" fmla="*/ 215 w 297"/>
                <a:gd name="T59" fmla="*/ 19 h 297"/>
                <a:gd name="T60" fmla="*/ 197 w 297"/>
                <a:gd name="T61" fmla="*/ 24 h 297"/>
                <a:gd name="T62" fmla="*/ 187 w 297"/>
                <a:gd name="T63" fmla="*/ 7 h 297"/>
                <a:gd name="T64" fmla="*/ 164 w 297"/>
                <a:gd name="T65" fmla="*/ 1 h 297"/>
                <a:gd name="T66" fmla="*/ 148 w 297"/>
                <a:gd name="T67" fmla="*/ 0 h 297"/>
                <a:gd name="T68" fmla="*/ 125 w 297"/>
                <a:gd name="T69" fmla="*/ 4 h 297"/>
                <a:gd name="T70" fmla="*/ 113 w 297"/>
                <a:gd name="T71" fmla="*/ 19 h 297"/>
                <a:gd name="T72" fmla="*/ 95 w 297"/>
                <a:gd name="T73" fmla="*/ 11 h 297"/>
                <a:gd name="T74" fmla="*/ 73 w 297"/>
                <a:gd name="T75" fmla="*/ 21 h 297"/>
                <a:gd name="T76" fmla="*/ 60 w 297"/>
                <a:gd name="T77" fmla="*/ 29 h 297"/>
                <a:gd name="T78" fmla="*/ 28 w 297"/>
                <a:gd name="T79" fmla="*/ 118 h 297"/>
                <a:gd name="T80" fmla="*/ 102 w 297"/>
                <a:gd name="T81" fmla="*/ 98 h 297"/>
                <a:gd name="T82" fmla="*/ 102 w 297"/>
                <a:gd name="T83" fmla="*/ 98 h 297"/>
                <a:gd name="T84" fmla="*/ 145 w 297"/>
                <a:gd name="T85" fmla="*/ 218 h 297"/>
                <a:gd name="T86" fmla="*/ 195 w 297"/>
                <a:gd name="T87" fmla="*/ 200 h 297"/>
                <a:gd name="T88" fmla="*/ 88 w 297"/>
                <a:gd name="T89" fmla="*/ 213 h 297"/>
                <a:gd name="T90" fmla="*/ 265 w 297"/>
                <a:gd name="T91" fmla="*/ 193 h 297"/>
                <a:gd name="T92" fmla="*/ 208 w 297"/>
                <a:gd name="T93" fmla="*/ 214 h 297"/>
                <a:gd name="T94" fmla="*/ 234 w 297"/>
                <a:gd name="T95" fmla="*/ 169 h 297"/>
                <a:gd name="T96" fmla="*/ 157 w 297"/>
                <a:gd name="T97" fmla="*/ 159 h 297"/>
                <a:gd name="T98" fmla="*/ 157 w 297"/>
                <a:gd name="T99" fmla="*/ 159 h 297"/>
                <a:gd name="T100" fmla="*/ 128 w 297"/>
                <a:gd name="T101" fmla="*/ 26 h 297"/>
                <a:gd name="T102" fmla="*/ 89 w 297"/>
                <a:gd name="T103" fmla="*/ 84 h 297"/>
                <a:gd name="T104" fmla="*/ 115 w 297"/>
                <a:gd name="T105" fmla="*/ 29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7" h="297">
                  <a:moveTo>
                    <a:pt x="57" y="49"/>
                  </a:moveTo>
                  <a:cubicBezTo>
                    <a:pt x="54" y="52"/>
                    <a:pt x="47" y="50"/>
                    <a:pt x="43" y="45"/>
                  </a:cubicBezTo>
                  <a:cubicBezTo>
                    <a:pt x="41" y="47"/>
                    <a:pt x="39" y="48"/>
                    <a:pt x="38" y="50"/>
                  </a:cubicBezTo>
                  <a:cubicBezTo>
                    <a:pt x="43" y="55"/>
                    <a:pt x="45" y="61"/>
                    <a:pt x="42" y="64"/>
                  </a:cubicBezTo>
                  <a:cubicBezTo>
                    <a:pt x="39" y="67"/>
                    <a:pt x="33" y="67"/>
                    <a:pt x="28" y="63"/>
                  </a:cubicBezTo>
                  <a:cubicBezTo>
                    <a:pt x="26" y="65"/>
                    <a:pt x="25" y="67"/>
                    <a:pt x="23" y="69"/>
                  </a:cubicBezTo>
                  <a:cubicBezTo>
                    <a:pt x="29" y="72"/>
                    <a:pt x="32" y="78"/>
                    <a:pt x="30" y="81"/>
                  </a:cubicBezTo>
                  <a:cubicBezTo>
                    <a:pt x="28" y="85"/>
                    <a:pt x="22" y="85"/>
                    <a:pt x="16" y="82"/>
                  </a:cubicBezTo>
                  <a:cubicBezTo>
                    <a:pt x="15" y="85"/>
                    <a:pt x="14" y="87"/>
                    <a:pt x="13" y="89"/>
                  </a:cubicBezTo>
                  <a:cubicBezTo>
                    <a:pt x="18" y="92"/>
                    <a:pt x="22" y="97"/>
                    <a:pt x="20" y="100"/>
                  </a:cubicBezTo>
                  <a:cubicBezTo>
                    <a:pt x="19" y="104"/>
                    <a:pt x="13" y="106"/>
                    <a:pt x="7" y="104"/>
                  </a:cubicBezTo>
                  <a:cubicBezTo>
                    <a:pt x="6" y="106"/>
                    <a:pt x="6" y="109"/>
                    <a:pt x="5" y="111"/>
                  </a:cubicBezTo>
                  <a:cubicBezTo>
                    <a:pt x="11" y="113"/>
                    <a:pt x="15" y="117"/>
                    <a:pt x="14" y="121"/>
                  </a:cubicBezTo>
                  <a:cubicBezTo>
                    <a:pt x="13" y="125"/>
                    <a:pt x="8" y="127"/>
                    <a:pt x="2" y="126"/>
                  </a:cubicBezTo>
                  <a:cubicBezTo>
                    <a:pt x="1" y="129"/>
                    <a:pt x="1" y="131"/>
                    <a:pt x="1" y="134"/>
                  </a:cubicBezTo>
                  <a:cubicBezTo>
                    <a:pt x="7" y="134"/>
                    <a:pt x="11" y="138"/>
                    <a:pt x="11" y="142"/>
                  </a:cubicBezTo>
                  <a:cubicBezTo>
                    <a:pt x="11" y="146"/>
                    <a:pt x="6" y="149"/>
                    <a:pt x="0" y="149"/>
                  </a:cubicBezTo>
                  <a:cubicBezTo>
                    <a:pt x="0" y="152"/>
                    <a:pt x="0" y="154"/>
                    <a:pt x="0" y="157"/>
                  </a:cubicBezTo>
                  <a:cubicBezTo>
                    <a:pt x="6" y="157"/>
                    <a:pt x="11" y="159"/>
                    <a:pt x="12" y="163"/>
                  </a:cubicBezTo>
                  <a:cubicBezTo>
                    <a:pt x="12" y="167"/>
                    <a:pt x="8" y="171"/>
                    <a:pt x="2" y="172"/>
                  </a:cubicBezTo>
                  <a:cubicBezTo>
                    <a:pt x="2" y="175"/>
                    <a:pt x="3" y="177"/>
                    <a:pt x="3" y="179"/>
                  </a:cubicBezTo>
                  <a:cubicBezTo>
                    <a:pt x="9" y="179"/>
                    <a:pt x="14" y="180"/>
                    <a:pt x="15" y="184"/>
                  </a:cubicBezTo>
                  <a:cubicBezTo>
                    <a:pt x="16" y="188"/>
                    <a:pt x="13" y="192"/>
                    <a:pt x="7" y="194"/>
                  </a:cubicBezTo>
                  <a:cubicBezTo>
                    <a:pt x="8" y="197"/>
                    <a:pt x="9" y="199"/>
                    <a:pt x="10" y="201"/>
                  </a:cubicBezTo>
                  <a:cubicBezTo>
                    <a:pt x="15" y="200"/>
                    <a:pt x="21" y="201"/>
                    <a:pt x="22" y="204"/>
                  </a:cubicBezTo>
                  <a:cubicBezTo>
                    <a:pt x="24" y="208"/>
                    <a:pt x="21" y="213"/>
                    <a:pt x="16" y="216"/>
                  </a:cubicBezTo>
                  <a:cubicBezTo>
                    <a:pt x="17" y="218"/>
                    <a:pt x="18" y="220"/>
                    <a:pt x="19" y="222"/>
                  </a:cubicBezTo>
                  <a:cubicBezTo>
                    <a:pt x="25" y="220"/>
                    <a:pt x="30" y="220"/>
                    <a:pt x="32" y="223"/>
                  </a:cubicBezTo>
                  <a:cubicBezTo>
                    <a:pt x="34" y="226"/>
                    <a:pt x="32" y="231"/>
                    <a:pt x="28" y="235"/>
                  </a:cubicBezTo>
                  <a:cubicBezTo>
                    <a:pt x="29" y="237"/>
                    <a:pt x="31" y="239"/>
                    <a:pt x="32" y="241"/>
                  </a:cubicBezTo>
                  <a:cubicBezTo>
                    <a:pt x="37" y="238"/>
                    <a:pt x="42" y="237"/>
                    <a:pt x="45" y="240"/>
                  </a:cubicBezTo>
                  <a:cubicBezTo>
                    <a:pt x="47" y="243"/>
                    <a:pt x="46" y="248"/>
                    <a:pt x="42" y="253"/>
                  </a:cubicBezTo>
                  <a:cubicBezTo>
                    <a:pt x="44" y="255"/>
                    <a:pt x="46" y="256"/>
                    <a:pt x="48" y="258"/>
                  </a:cubicBezTo>
                  <a:cubicBezTo>
                    <a:pt x="52" y="254"/>
                    <a:pt x="57" y="253"/>
                    <a:pt x="60" y="255"/>
                  </a:cubicBezTo>
                  <a:cubicBezTo>
                    <a:pt x="63" y="257"/>
                    <a:pt x="63" y="263"/>
                    <a:pt x="60" y="268"/>
                  </a:cubicBezTo>
                  <a:cubicBezTo>
                    <a:pt x="62" y="269"/>
                    <a:pt x="64" y="271"/>
                    <a:pt x="66" y="272"/>
                  </a:cubicBezTo>
                  <a:cubicBezTo>
                    <a:pt x="69" y="268"/>
                    <a:pt x="74" y="265"/>
                    <a:pt x="78" y="267"/>
                  </a:cubicBezTo>
                  <a:cubicBezTo>
                    <a:pt x="81" y="269"/>
                    <a:pt x="81" y="275"/>
                    <a:pt x="79" y="280"/>
                  </a:cubicBezTo>
                  <a:cubicBezTo>
                    <a:pt x="81" y="281"/>
                    <a:pt x="84" y="282"/>
                    <a:pt x="86" y="283"/>
                  </a:cubicBezTo>
                  <a:cubicBezTo>
                    <a:pt x="89" y="278"/>
                    <a:pt x="93" y="275"/>
                    <a:pt x="97" y="277"/>
                  </a:cubicBezTo>
                  <a:cubicBezTo>
                    <a:pt x="100" y="278"/>
                    <a:pt x="102" y="283"/>
                    <a:pt x="100" y="289"/>
                  </a:cubicBezTo>
                  <a:cubicBezTo>
                    <a:pt x="103" y="290"/>
                    <a:pt x="105" y="291"/>
                    <a:pt x="107" y="291"/>
                  </a:cubicBezTo>
                  <a:cubicBezTo>
                    <a:pt x="109" y="286"/>
                    <a:pt x="113" y="282"/>
                    <a:pt x="117" y="283"/>
                  </a:cubicBezTo>
                  <a:cubicBezTo>
                    <a:pt x="121" y="284"/>
                    <a:pt x="123" y="289"/>
                    <a:pt x="122" y="295"/>
                  </a:cubicBezTo>
                  <a:cubicBezTo>
                    <a:pt x="125" y="295"/>
                    <a:pt x="127" y="296"/>
                    <a:pt x="130" y="296"/>
                  </a:cubicBezTo>
                  <a:cubicBezTo>
                    <a:pt x="131" y="290"/>
                    <a:pt x="134" y="286"/>
                    <a:pt x="138" y="286"/>
                  </a:cubicBezTo>
                  <a:cubicBezTo>
                    <a:pt x="142" y="286"/>
                    <a:pt x="145" y="291"/>
                    <a:pt x="145" y="297"/>
                  </a:cubicBezTo>
                  <a:cubicBezTo>
                    <a:pt x="148" y="297"/>
                    <a:pt x="150" y="297"/>
                    <a:pt x="153" y="297"/>
                  </a:cubicBezTo>
                  <a:cubicBezTo>
                    <a:pt x="153" y="291"/>
                    <a:pt x="155" y="286"/>
                    <a:pt x="159" y="286"/>
                  </a:cubicBezTo>
                  <a:cubicBezTo>
                    <a:pt x="163" y="285"/>
                    <a:pt x="167" y="290"/>
                    <a:pt x="168" y="296"/>
                  </a:cubicBezTo>
                  <a:cubicBezTo>
                    <a:pt x="171" y="296"/>
                    <a:pt x="173" y="295"/>
                    <a:pt x="176" y="295"/>
                  </a:cubicBezTo>
                  <a:cubicBezTo>
                    <a:pt x="175" y="289"/>
                    <a:pt x="176" y="283"/>
                    <a:pt x="180" y="282"/>
                  </a:cubicBezTo>
                  <a:cubicBezTo>
                    <a:pt x="184" y="281"/>
                    <a:pt x="189" y="285"/>
                    <a:pt x="191" y="291"/>
                  </a:cubicBezTo>
                  <a:cubicBezTo>
                    <a:pt x="193" y="290"/>
                    <a:pt x="196" y="290"/>
                    <a:pt x="198" y="289"/>
                  </a:cubicBezTo>
                  <a:cubicBezTo>
                    <a:pt x="196" y="283"/>
                    <a:pt x="197" y="277"/>
                    <a:pt x="200" y="275"/>
                  </a:cubicBezTo>
                  <a:cubicBezTo>
                    <a:pt x="204" y="273"/>
                    <a:pt x="210" y="277"/>
                    <a:pt x="213" y="283"/>
                  </a:cubicBezTo>
                  <a:cubicBezTo>
                    <a:pt x="215" y="282"/>
                    <a:pt x="217" y="280"/>
                    <a:pt x="219" y="279"/>
                  </a:cubicBezTo>
                  <a:cubicBezTo>
                    <a:pt x="216" y="274"/>
                    <a:pt x="216" y="267"/>
                    <a:pt x="219" y="265"/>
                  </a:cubicBezTo>
                  <a:cubicBezTo>
                    <a:pt x="223" y="263"/>
                    <a:pt x="229" y="265"/>
                    <a:pt x="233" y="271"/>
                  </a:cubicBezTo>
                  <a:cubicBezTo>
                    <a:pt x="235" y="270"/>
                    <a:pt x="237" y="268"/>
                    <a:pt x="239" y="267"/>
                  </a:cubicBezTo>
                  <a:cubicBezTo>
                    <a:pt x="234" y="261"/>
                    <a:pt x="233" y="255"/>
                    <a:pt x="236" y="252"/>
                  </a:cubicBezTo>
                  <a:cubicBezTo>
                    <a:pt x="240" y="249"/>
                    <a:pt x="246" y="251"/>
                    <a:pt x="251" y="256"/>
                  </a:cubicBezTo>
                  <a:cubicBezTo>
                    <a:pt x="253" y="255"/>
                    <a:pt x="254" y="253"/>
                    <a:pt x="256" y="251"/>
                  </a:cubicBezTo>
                  <a:cubicBezTo>
                    <a:pt x="251" y="247"/>
                    <a:pt x="248" y="240"/>
                    <a:pt x="251" y="237"/>
                  </a:cubicBezTo>
                  <a:cubicBezTo>
                    <a:pt x="254" y="234"/>
                    <a:pt x="261" y="234"/>
                    <a:pt x="266" y="239"/>
                  </a:cubicBezTo>
                  <a:cubicBezTo>
                    <a:pt x="266" y="239"/>
                    <a:pt x="266" y="239"/>
                    <a:pt x="266" y="239"/>
                  </a:cubicBezTo>
                  <a:cubicBezTo>
                    <a:pt x="268" y="237"/>
                    <a:pt x="269" y="235"/>
                    <a:pt x="271" y="233"/>
                  </a:cubicBezTo>
                  <a:cubicBezTo>
                    <a:pt x="271" y="233"/>
                    <a:pt x="271" y="233"/>
                    <a:pt x="271" y="233"/>
                  </a:cubicBezTo>
                  <a:cubicBezTo>
                    <a:pt x="264" y="229"/>
                    <a:pt x="261" y="223"/>
                    <a:pt x="263" y="220"/>
                  </a:cubicBezTo>
                  <a:cubicBezTo>
                    <a:pt x="266" y="216"/>
                    <a:pt x="272" y="215"/>
                    <a:pt x="278" y="219"/>
                  </a:cubicBezTo>
                  <a:cubicBezTo>
                    <a:pt x="279" y="219"/>
                    <a:pt x="279" y="219"/>
                    <a:pt x="279" y="219"/>
                  </a:cubicBezTo>
                  <a:cubicBezTo>
                    <a:pt x="280" y="217"/>
                    <a:pt x="281" y="215"/>
                    <a:pt x="282" y="213"/>
                  </a:cubicBezTo>
                  <a:cubicBezTo>
                    <a:pt x="282" y="212"/>
                    <a:pt x="282" y="212"/>
                    <a:pt x="282" y="212"/>
                  </a:cubicBezTo>
                  <a:cubicBezTo>
                    <a:pt x="275" y="210"/>
                    <a:pt x="271" y="205"/>
                    <a:pt x="273" y="200"/>
                  </a:cubicBezTo>
                  <a:cubicBezTo>
                    <a:pt x="274" y="196"/>
                    <a:pt x="281" y="195"/>
                    <a:pt x="287" y="197"/>
                  </a:cubicBezTo>
                  <a:cubicBezTo>
                    <a:pt x="288" y="198"/>
                    <a:pt x="288" y="198"/>
                    <a:pt x="288" y="198"/>
                  </a:cubicBezTo>
                  <a:cubicBezTo>
                    <a:pt x="289" y="195"/>
                    <a:pt x="290" y="193"/>
                    <a:pt x="291" y="191"/>
                  </a:cubicBezTo>
                  <a:cubicBezTo>
                    <a:pt x="291" y="191"/>
                    <a:pt x="290" y="190"/>
                    <a:pt x="290" y="190"/>
                  </a:cubicBezTo>
                  <a:cubicBezTo>
                    <a:pt x="283" y="189"/>
                    <a:pt x="278" y="184"/>
                    <a:pt x="279" y="180"/>
                  </a:cubicBezTo>
                  <a:cubicBezTo>
                    <a:pt x="280" y="176"/>
                    <a:pt x="286" y="173"/>
                    <a:pt x="293" y="175"/>
                  </a:cubicBezTo>
                  <a:cubicBezTo>
                    <a:pt x="294" y="175"/>
                    <a:pt x="294" y="175"/>
                    <a:pt x="294" y="175"/>
                  </a:cubicBezTo>
                  <a:cubicBezTo>
                    <a:pt x="295" y="173"/>
                    <a:pt x="295" y="170"/>
                    <a:pt x="296" y="168"/>
                  </a:cubicBezTo>
                  <a:cubicBezTo>
                    <a:pt x="295" y="168"/>
                    <a:pt x="295" y="168"/>
                    <a:pt x="294" y="167"/>
                  </a:cubicBezTo>
                  <a:cubicBezTo>
                    <a:pt x="287" y="167"/>
                    <a:pt x="282" y="163"/>
                    <a:pt x="282" y="159"/>
                  </a:cubicBezTo>
                  <a:cubicBezTo>
                    <a:pt x="282" y="155"/>
                    <a:pt x="288" y="151"/>
                    <a:pt x="295" y="152"/>
                  </a:cubicBezTo>
                  <a:cubicBezTo>
                    <a:pt x="296" y="152"/>
                    <a:pt x="296" y="152"/>
                    <a:pt x="297" y="152"/>
                  </a:cubicBezTo>
                  <a:cubicBezTo>
                    <a:pt x="297" y="149"/>
                    <a:pt x="297" y="147"/>
                    <a:pt x="297" y="144"/>
                  </a:cubicBezTo>
                  <a:cubicBezTo>
                    <a:pt x="296" y="144"/>
                    <a:pt x="296" y="144"/>
                    <a:pt x="295" y="144"/>
                  </a:cubicBezTo>
                  <a:cubicBezTo>
                    <a:pt x="288" y="145"/>
                    <a:pt x="282" y="142"/>
                    <a:pt x="282" y="138"/>
                  </a:cubicBezTo>
                  <a:cubicBezTo>
                    <a:pt x="281" y="133"/>
                    <a:pt x="286" y="129"/>
                    <a:pt x="293" y="128"/>
                  </a:cubicBezTo>
                  <a:cubicBezTo>
                    <a:pt x="294" y="128"/>
                    <a:pt x="295" y="128"/>
                    <a:pt x="295" y="128"/>
                  </a:cubicBezTo>
                  <a:cubicBezTo>
                    <a:pt x="295" y="126"/>
                    <a:pt x="295" y="123"/>
                    <a:pt x="294" y="120"/>
                  </a:cubicBezTo>
                  <a:cubicBezTo>
                    <a:pt x="294" y="121"/>
                    <a:pt x="293" y="121"/>
                    <a:pt x="292" y="121"/>
                  </a:cubicBezTo>
                  <a:cubicBezTo>
                    <a:pt x="286" y="123"/>
                    <a:pt x="279" y="121"/>
                    <a:pt x="278" y="117"/>
                  </a:cubicBezTo>
                  <a:cubicBezTo>
                    <a:pt x="277" y="113"/>
                    <a:pt x="281" y="108"/>
                    <a:pt x="288" y="106"/>
                  </a:cubicBezTo>
                  <a:cubicBezTo>
                    <a:pt x="289" y="106"/>
                    <a:pt x="290" y="105"/>
                    <a:pt x="290" y="105"/>
                  </a:cubicBezTo>
                  <a:cubicBezTo>
                    <a:pt x="289" y="103"/>
                    <a:pt x="289" y="100"/>
                    <a:pt x="288" y="98"/>
                  </a:cubicBezTo>
                  <a:cubicBezTo>
                    <a:pt x="287" y="98"/>
                    <a:pt x="287" y="98"/>
                    <a:pt x="286" y="99"/>
                  </a:cubicBezTo>
                  <a:cubicBezTo>
                    <a:pt x="280" y="101"/>
                    <a:pt x="273" y="101"/>
                    <a:pt x="271" y="97"/>
                  </a:cubicBezTo>
                  <a:cubicBezTo>
                    <a:pt x="269" y="93"/>
                    <a:pt x="273" y="87"/>
                    <a:pt x="279" y="84"/>
                  </a:cubicBezTo>
                  <a:cubicBezTo>
                    <a:pt x="280" y="84"/>
                    <a:pt x="281" y="84"/>
                    <a:pt x="282" y="83"/>
                  </a:cubicBezTo>
                  <a:cubicBezTo>
                    <a:pt x="280" y="81"/>
                    <a:pt x="279" y="79"/>
                    <a:pt x="278" y="76"/>
                  </a:cubicBezTo>
                  <a:cubicBezTo>
                    <a:pt x="277" y="77"/>
                    <a:pt x="277" y="77"/>
                    <a:pt x="276" y="77"/>
                  </a:cubicBezTo>
                  <a:cubicBezTo>
                    <a:pt x="270" y="81"/>
                    <a:pt x="264" y="81"/>
                    <a:pt x="261" y="78"/>
                  </a:cubicBezTo>
                  <a:cubicBezTo>
                    <a:pt x="259" y="74"/>
                    <a:pt x="262" y="68"/>
                    <a:pt x="267" y="64"/>
                  </a:cubicBezTo>
                  <a:cubicBezTo>
                    <a:pt x="268" y="64"/>
                    <a:pt x="269" y="63"/>
                    <a:pt x="269" y="63"/>
                  </a:cubicBezTo>
                  <a:cubicBezTo>
                    <a:pt x="268" y="61"/>
                    <a:pt x="266" y="59"/>
                    <a:pt x="265" y="57"/>
                  </a:cubicBezTo>
                  <a:cubicBezTo>
                    <a:pt x="264" y="57"/>
                    <a:pt x="264" y="58"/>
                    <a:pt x="263" y="58"/>
                  </a:cubicBezTo>
                  <a:cubicBezTo>
                    <a:pt x="258" y="63"/>
                    <a:pt x="251" y="64"/>
                    <a:pt x="248" y="61"/>
                  </a:cubicBezTo>
                  <a:cubicBezTo>
                    <a:pt x="245" y="58"/>
                    <a:pt x="247" y="51"/>
                    <a:pt x="252" y="46"/>
                  </a:cubicBezTo>
                  <a:cubicBezTo>
                    <a:pt x="253" y="46"/>
                    <a:pt x="254" y="45"/>
                    <a:pt x="254" y="45"/>
                  </a:cubicBezTo>
                  <a:cubicBezTo>
                    <a:pt x="252" y="43"/>
                    <a:pt x="250" y="41"/>
                    <a:pt x="248" y="39"/>
                  </a:cubicBezTo>
                  <a:cubicBezTo>
                    <a:pt x="248" y="40"/>
                    <a:pt x="248" y="40"/>
                    <a:pt x="247" y="41"/>
                  </a:cubicBezTo>
                  <a:cubicBezTo>
                    <a:pt x="243" y="46"/>
                    <a:pt x="237" y="49"/>
                    <a:pt x="233" y="46"/>
                  </a:cubicBezTo>
                  <a:cubicBezTo>
                    <a:pt x="230" y="43"/>
                    <a:pt x="230" y="37"/>
                    <a:pt x="235" y="31"/>
                  </a:cubicBezTo>
                  <a:cubicBezTo>
                    <a:pt x="235" y="30"/>
                    <a:pt x="236" y="30"/>
                    <a:pt x="236" y="29"/>
                  </a:cubicBezTo>
                  <a:cubicBezTo>
                    <a:pt x="234" y="28"/>
                    <a:pt x="232" y="26"/>
                    <a:pt x="230" y="25"/>
                  </a:cubicBezTo>
                  <a:cubicBezTo>
                    <a:pt x="230" y="25"/>
                    <a:pt x="229" y="26"/>
                    <a:pt x="229" y="27"/>
                  </a:cubicBezTo>
                  <a:cubicBezTo>
                    <a:pt x="225" y="33"/>
                    <a:pt x="220" y="36"/>
                    <a:pt x="216" y="34"/>
                  </a:cubicBezTo>
                  <a:cubicBezTo>
                    <a:pt x="212" y="32"/>
                    <a:pt x="212" y="25"/>
                    <a:pt x="215" y="19"/>
                  </a:cubicBezTo>
                  <a:cubicBezTo>
                    <a:pt x="215" y="18"/>
                    <a:pt x="216" y="17"/>
                    <a:pt x="216" y="17"/>
                  </a:cubicBezTo>
                  <a:cubicBezTo>
                    <a:pt x="214" y="16"/>
                    <a:pt x="211" y="14"/>
                    <a:pt x="209" y="13"/>
                  </a:cubicBezTo>
                  <a:cubicBezTo>
                    <a:pt x="209" y="14"/>
                    <a:pt x="209" y="15"/>
                    <a:pt x="208" y="15"/>
                  </a:cubicBezTo>
                  <a:cubicBezTo>
                    <a:pt x="206" y="22"/>
                    <a:pt x="201" y="26"/>
                    <a:pt x="197" y="24"/>
                  </a:cubicBezTo>
                  <a:cubicBezTo>
                    <a:pt x="192" y="23"/>
                    <a:pt x="191" y="16"/>
                    <a:pt x="194" y="10"/>
                  </a:cubicBezTo>
                  <a:cubicBezTo>
                    <a:pt x="194" y="9"/>
                    <a:pt x="194" y="8"/>
                    <a:pt x="194" y="8"/>
                  </a:cubicBezTo>
                  <a:cubicBezTo>
                    <a:pt x="192" y="7"/>
                    <a:pt x="189" y="6"/>
                    <a:pt x="187" y="5"/>
                  </a:cubicBezTo>
                  <a:cubicBezTo>
                    <a:pt x="187" y="6"/>
                    <a:pt x="187" y="7"/>
                    <a:pt x="187" y="7"/>
                  </a:cubicBezTo>
                  <a:cubicBezTo>
                    <a:pt x="185" y="14"/>
                    <a:pt x="181" y="19"/>
                    <a:pt x="176" y="18"/>
                  </a:cubicBezTo>
                  <a:cubicBezTo>
                    <a:pt x="172" y="17"/>
                    <a:pt x="170" y="11"/>
                    <a:pt x="171" y="4"/>
                  </a:cubicBezTo>
                  <a:cubicBezTo>
                    <a:pt x="171" y="3"/>
                    <a:pt x="171" y="3"/>
                    <a:pt x="171" y="2"/>
                  </a:cubicBezTo>
                  <a:cubicBezTo>
                    <a:pt x="169" y="2"/>
                    <a:pt x="166" y="2"/>
                    <a:pt x="164" y="1"/>
                  </a:cubicBezTo>
                  <a:cubicBezTo>
                    <a:pt x="164" y="2"/>
                    <a:pt x="164" y="2"/>
                    <a:pt x="164" y="3"/>
                  </a:cubicBezTo>
                  <a:cubicBezTo>
                    <a:pt x="163" y="10"/>
                    <a:pt x="160" y="15"/>
                    <a:pt x="155" y="15"/>
                  </a:cubicBezTo>
                  <a:cubicBezTo>
                    <a:pt x="151" y="15"/>
                    <a:pt x="148" y="9"/>
                    <a:pt x="148" y="2"/>
                  </a:cubicBezTo>
                  <a:cubicBezTo>
                    <a:pt x="148" y="1"/>
                    <a:pt x="148" y="1"/>
                    <a:pt x="148" y="0"/>
                  </a:cubicBezTo>
                  <a:cubicBezTo>
                    <a:pt x="145" y="0"/>
                    <a:pt x="143" y="1"/>
                    <a:pt x="140" y="1"/>
                  </a:cubicBezTo>
                  <a:cubicBezTo>
                    <a:pt x="140" y="1"/>
                    <a:pt x="140" y="1"/>
                    <a:pt x="140" y="2"/>
                  </a:cubicBezTo>
                  <a:cubicBezTo>
                    <a:pt x="141" y="9"/>
                    <a:pt x="138" y="15"/>
                    <a:pt x="134" y="15"/>
                  </a:cubicBezTo>
                  <a:cubicBezTo>
                    <a:pt x="130" y="16"/>
                    <a:pt x="125" y="11"/>
                    <a:pt x="125" y="4"/>
                  </a:cubicBezTo>
                  <a:cubicBezTo>
                    <a:pt x="125" y="3"/>
                    <a:pt x="125" y="3"/>
                    <a:pt x="124" y="2"/>
                  </a:cubicBezTo>
                  <a:cubicBezTo>
                    <a:pt x="122" y="3"/>
                    <a:pt x="119" y="3"/>
                    <a:pt x="117" y="4"/>
                  </a:cubicBezTo>
                  <a:cubicBezTo>
                    <a:pt x="117" y="4"/>
                    <a:pt x="117" y="4"/>
                    <a:pt x="117" y="5"/>
                  </a:cubicBezTo>
                  <a:cubicBezTo>
                    <a:pt x="119" y="11"/>
                    <a:pt x="117" y="18"/>
                    <a:pt x="113" y="19"/>
                  </a:cubicBezTo>
                  <a:cubicBezTo>
                    <a:pt x="109" y="20"/>
                    <a:pt x="104" y="16"/>
                    <a:pt x="102" y="9"/>
                  </a:cubicBezTo>
                  <a:cubicBezTo>
                    <a:pt x="102" y="9"/>
                    <a:pt x="102" y="8"/>
                    <a:pt x="102" y="8"/>
                  </a:cubicBezTo>
                  <a:cubicBezTo>
                    <a:pt x="99" y="9"/>
                    <a:pt x="97" y="10"/>
                    <a:pt x="94" y="11"/>
                  </a:cubicBezTo>
                  <a:cubicBezTo>
                    <a:pt x="95" y="11"/>
                    <a:pt x="95" y="11"/>
                    <a:pt x="95" y="11"/>
                  </a:cubicBezTo>
                  <a:cubicBezTo>
                    <a:pt x="98" y="17"/>
                    <a:pt x="97" y="24"/>
                    <a:pt x="93" y="26"/>
                  </a:cubicBezTo>
                  <a:cubicBezTo>
                    <a:pt x="89" y="28"/>
                    <a:pt x="83" y="24"/>
                    <a:pt x="80" y="18"/>
                  </a:cubicBezTo>
                  <a:cubicBezTo>
                    <a:pt x="80" y="17"/>
                    <a:pt x="80" y="17"/>
                    <a:pt x="80" y="17"/>
                  </a:cubicBezTo>
                  <a:cubicBezTo>
                    <a:pt x="78" y="18"/>
                    <a:pt x="76" y="19"/>
                    <a:pt x="73" y="21"/>
                  </a:cubicBezTo>
                  <a:cubicBezTo>
                    <a:pt x="73" y="21"/>
                    <a:pt x="74" y="21"/>
                    <a:pt x="74" y="21"/>
                  </a:cubicBezTo>
                  <a:cubicBezTo>
                    <a:pt x="77" y="27"/>
                    <a:pt x="78" y="33"/>
                    <a:pt x="74" y="36"/>
                  </a:cubicBezTo>
                  <a:cubicBezTo>
                    <a:pt x="70" y="38"/>
                    <a:pt x="64" y="35"/>
                    <a:pt x="60" y="30"/>
                  </a:cubicBezTo>
                  <a:cubicBezTo>
                    <a:pt x="60" y="30"/>
                    <a:pt x="60" y="30"/>
                    <a:pt x="60" y="29"/>
                  </a:cubicBezTo>
                  <a:cubicBezTo>
                    <a:pt x="58" y="31"/>
                    <a:pt x="56" y="32"/>
                    <a:pt x="54" y="34"/>
                  </a:cubicBezTo>
                  <a:cubicBezTo>
                    <a:pt x="59" y="39"/>
                    <a:pt x="60" y="46"/>
                    <a:pt x="57" y="49"/>
                  </a:cubicBezTo>
                  <a:close/>
                  <a:moveTo>
                    <a:pt x="52" y="228"/>
                  </a:moveTo>
                  <a:cubicBezTo>
                    <a:pt x="26" y="196"/>
                    <a:pt x="18" y="156"/>
                    <a:pt x="28" y="118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8" y="160"/>
                    <a:pt x="64" y="184"/>
                    <a:pt x="79" y="203"/>
                  </a:cubicBezTo>
                  <a:lnTo>
                    <a:pt x="52" y="228"/>
                  </a:lnTo>
                  <a:close/>
                  <a:moveTo>
                    <a:pt x="102" y="98"/>
                  </a:moveTo>
                  <a:cubicBezTo>
                    <a:pt x="127" y="75"/>
                    <a:pt x="165" y="74"/>
                    <a:pt x="191" y="94"/>
                  </a:cubicBezTo>
                  <a:cubicBezTo>
                    <a:pt x="139" y="126"/>
                    <a:pt x="139" y="126"/>
                    <a:pt x="139" y="126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9" y="112"/>
                    <a:pt x="95" y="104"/>
                    <a:pt x="102" y="98"/>
                  </a:cubicBezTo>
                  <a:close/>
                  <a:moveTo>
                    <a:pt x="97" y="196"/>
                  </a:moveTo>
                  <a:cubicBezTo>
                    <a:pt x="84" y="182"/>
                    <a:pt x="79" y="164"/>
                    <a:pt x="79" y="146"/>
                  </a:cubicBezTo>
                  <a:cubicBezTo>
                    <a:pt x="124" y="171"/>
                    <a:pt x="124" y="171"/>
                    <a:pt x="124" y="171"/>
                  </a:cubicBezTo>
                  <a:cubicBezTo>
                    <a:pt x="145" y="218"/>
                    <a:pt x="145" y="218"/>
                    <a:pt x="145" y="218"/>
                  </a:cubicBezTo>
                  <a:cubicBezTo>
                    <a:pt x="127" y="217"/>
                    <a:pt x="110" y="210"/>
                    <a:pt x="97" y="196"/>
                  </a:cubicBezTo>
                  <a:close/>
                  <a:moveTo>
                    <a:pt x="170" y="161"/>
                  </a:moveTo>
                  <a:cubicBezTo>
                    <a:pt x="207" y="112"/>
                    <a:pt x="207" y="112"/>
                    <a:pt x="207" y="112"/>
                  </a:cubicBezTo>
                  <a:cubicBezTo>
                    <a:pt x="225" y="140"/>
                    <a:pt x="220" y="177"/>
                    <a:pt x="195" y="200"/>
                  </a:cubicBezTo>
                  <a:cubicBezTo>
                    <a:pt x="188" y="207"/>
                    <a:pt x="180" y="211"/>
                    <a:pt x="172" y="214"/>
                  </a:cubicBezTo>
                  <a:lnTo>
                    <a:pt x="170" y="161"/>
                  </a:lnTo>
                  <a:close/>
                  <a:moveTo>
                    <a:pt x="61" y="238"/>
                  </a:moveTo>
                  <a:cubicBezTo>
                    <a:pt x="88" y="213"/>
                    <a:pt x="88" y="213"/>
                    <a:pt x="88" y="213"/>
                  </a:cubicBezTo>
                  <a:cubicBezTo>
                    <a:pt x="106" y="230"/>
                    <a:pt x="130" y="238"/>
                    <a:pt x="153" y="237"/>
                  </a:cubicBezTo>
                  <a:cubicBezTo>
                    <a:pt x="168" y="272"/>
                    <a:pt x="168" y="272"/>
                    <a:pt x="168" y="272"/>
                  </a:cubicBezTo>
                  <a:cubicBezTo>
                    <a:pt x="130" y="278"/>
                    <a:pt x="90" y="266"/>
                    <a:pt x="61" y="238"/>
                  </a:cubicBezTo>
                  <a:close/>
                  <a:moveTo>
                    <a:pt x="265" y="193"/>
                  </a:moveTo>
                  <a:cubicBezTo>
                    <a:pt x="258" y="211"/>
                    <a:pt x="248" y="227"/>
                    <a:pt x="233" y="241"/>
                  </a:cubicBezTo>
                  <a:cubicBezTo>
                    <a:pt x="215" y="257"/>
                    <a:pt x="195" y="267"/>
                    <a:pt x="173" y="271"/>
                  </a:cubicBezTo>
                  <a:cubicBezTo>
                    <a:pt x="172" y="234"/>
                    <a:pt x="172" y="234"/>
                    <a:pt x="172" y="234"/>
                  </a:cubicBezTo>
                  <a:cubicBezTo>
                    <a:pt x="185" y="230"/>
                    <a:pt x="197" y="224"/>
                    <a:pt x="208" y="214"/>
                  </a:cubicBezTo>
                  <a:cubicBezTo>
                    <a:pt x="218" y="205"/>
                    <a:pt x="225" y="194"/>
                    <a:pt x="230" y="182"/>
                  </a:cubicBezTo>
                  <a:lnTo>
                    <a:pt x="265" y="193"/>
                  </a:lnTo>
                  <a:close/>
                  <a:moveTo>
                    <a:pt x="269" y="180"/>
                  </a:moveTo>
                  <a:cubicBezTo>
                    <a:pt x="234" y="169"/>
                    <a:pt x="234" y="169"/>
                    <a:pt x="234" y="169"/>
                  </a:cubicBezTo>
                  <a:cubicBezTo>
                    <a:pt x="240" y="144"/>
                    <a:pt x="235" y="117"/>
                    <a:pt x="219" y="96"/>
                  </a:cubicBezTo>
                  <a:cubicBezTo>
                    <a:pt x="241" y="66"/>
                    <a:pt x="241" y="66"/>
                    <a:pt x="241" y="66"/>
                  </a:cubicBezTo>
                  <a:cubicBezTo>
                    <a:pt x="270" y="98"/>
                    <a:pt x="279" y="141"/>
                    <a:pt x="269" y="180"/>
                  </a:cubicBezTo>
                  <a:close/>
                  <a:moveTo>
                    <a:pt x="157" y="159"/>
                  </a:moveTo>
                  <a:cubicBezTo>
                    <a:pt x="152" y="163"/>
                    <a:pt x="144" y="163"/>
                    <a:pt x="139" y="158"/>
                  </a:cubicBezTo>
                  <a:cubicBezTo>
                    <a:pt x="134" y="152"/>
                    <a:pt x="134" y="144"/>
                    <a:pt x="140" y="139"/>
                  </a:cubicBezTo>
                  <a:cubicBezTo>
                    <a:pt x="145" y="134"/>
                    <a:pt x="153" y="135"/>
                    <a:pt x="158" y="140"/>
                  </a:cubicBezTo>
                  <a:cubicBezTo>
                    <a:pt x="163" y="145"/>
                    <a:pt x="163" y="154"/>
                    <a:pt x="157" y="159"/>
                  </a:cubicBezTo>
                  <a:close/>
                  <a:moveTo>
                    <a:pt x="240" y="64"/>
                  </a:moveTo>
                  <a:cubicBezTo>
                    <a:pt x="208" y="84"/>
                    <a:pt x="208" y="84"/>
                    <a:pt x="208" y="84"/>
                  </a:cubicBezTo>
                  <a:cubicBezTo>
                    <a:pt x="188" y="66"/>
                    <a:pt x="161" y="58"/>
                    <a:pt x="136" y="62"/>
                  </a:cubicBezTo>
                  <a:cubicBezTo>
                    <a:pt x="128" y="26"/>
                    <a:pt x="128" y="26"/>
                    <a:pt x="128" y="26"/>
                  </a:cubicBezTo>
                  <a:cubicBezTo>
                    <a:pt x="168" y="19"/>
                    <a:pt x="210" y="32"/>
                    <a:pt x="240" y="64"/>
                  </a:cubicBezTo>
                  <a:close/>
                  <a:moveTo>
                    <a:pt x="115" y="29"/>
                  </a:moveTo>
                  <a:cubicBezTo>
                    <a:pt x="123" y="65"/>
                    <a:pt x="123" y="65"/>
                    <a:pt x="123" y="65"/>
                  </a:cubicBezTo>
                  <a:cubicBezTo>
                    <a:pt x="111" y="68"/>
                    <a:pt x="99" y="75"/>
                    <a:pt x="89" y="84"/>
                  </a:cubicBezTo>
                  <a:cubicBezTo>
                    <a:pt x="79" y="93"/>
                    <a:pt x="71" y="105"/>
                    <a:pt x="66" y="118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35" y="92"/>
                    <a:pt x="47" y="73"/>
                    <a:pt x="64" y="57"/>
                  </a:cubicBezTo>
                  <a:cubicBezTo>
                    <a:pt x="79" y="43"/>
                    <a:pt x="97" y="34"/>
                    <a:pt x="115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IN" sz="1798" kern="0">
                <a:solidFill>
                  <a:srgbClr val="FFFFFF"/>
                </a:solidFill>
              </a:endParaRPr>
            </a:p>
          </p:txBody>
        </p:sp>
        <p:sp>
          <p:nvSpPr>
            <p:cNvPr id="20" name="Freeform 36"/>
            <p:cNvSpPr>
              <a:spLocks noEditPoints="1"/>
            </p:cNvSpPr>
            <p:nvPr/>
          </p:nvSpPr>
          <p:spPr bwMode="auto">
            <a:xfrm>
              <a:off x="3490" y="1809"/>
              <a:ext cx="708" cy="707"/>
            </a:xfrm>
            <a:custGeom>
              <a:avLst/>
              <a:gdLst>
                <a:gd name="T0" fmla="*/ 123 w 297"/>
                <a:gd name="T1" fmla="*/ 292 h 297"/>
                <a:gd name="T2" fmla="*/ 145 w 297"/>
                <a:gd name="T3" fmla="*/ 295 h 297"/>
                <a:gd name="T4" fmla="*/ 297 w 297"/>
                <a:gd name="T5" fmla="*/ 152 h 297"/>
                <a:gd name="T6" fmla="*/ 294 w 297"/>
                <a:gd name="T7" fmla="*/ 152 h 297"/>
                <a:gd name="T8" fmla="*/ 294 w 297"/>
                <a:gd name="T9" fmla="*/ 120 h 297"/>
                <a:gd name="T10" fmla="*/ 293 w 297"/>
                <a:gd name="T11" fmla="*/ 128 h 297"/>
                <a:gd name="T12" fmla="*/ 286 w 297"/>
                <a:gd name="T13" fmla="*/ 99 h 297"/>
                <a:gd name="T14" fmla="*/ 107 w 297"/>
                <a:gd name="T15" fmla="*/ 291 h 297"/>
                <a:gd name="T16" fmla="*/ 107 w 297"/>
                <a:gd name="T17" fmla="*/ 291 h 297"/>
                <a:gd name="T18" fmla="*/ 79 w 297"/>
                <a:gd name="T19" fmla="*/ 280 h 297"/>
                <a:gd name="T20" fmla="*/ 61 w 297"/>
                <a:gd name="T21" fmla="*/ 266 h 297"/>
                <a:gd name="T22" fmla="*/ 294 w 297"/>
                <a:gd name="T23" fmla="*/ 175 h 297"/>
                <a:gd name="T24" fmla="*/ 292 w 297"/>
                <a:gd name="T25" fmla="*/ 175 h 297"/>
                <a:gd name="T26" fmla="*/ 278 w 297"/>
                <a:gd name="T27" fmla="*/ 76 h 297"/>
                <a:gd name="T28" fmla="*/ 279 w 297"/>
                <a:gd name="T29" fmla="*/ 84 h 297"/>
                <a:gd name="T30" fmla="*/ 271 w 297"/>
                <a:gd name="T31" fmla="*/ 233 h 297"/>
                <a:gd name="T32" fmla="*/ 28 w 297"/>
                <a:gd name="T33" fmla="*/ 63 h 297"/>
                <a:gd name="T34" fmla="*/ 28 w 297"/>
                <a:gd name="T35" fmla="*/ 63 h 297"/>
                <a:gd name="T36" fmla="*/ 237 w 297"/>
                <a:gd name="T37" fmla="*/ 265 h 297"/>
                <a:gd name="T38" fmla="*/ 168 w 297"/>
                <a:gd name="T39" fmla="*/ 293 h 297"/>
                <a:gd name="T40" fmla="*/ 43 w 297"/>
                <a:gd name="T41" fmla="*/ 45 h 297"/>
                <a:gd name="T42" fmla="*/ 287 w 297"/>
                <a:gd name="T43" fmla="*/ 197 h 297"/>
                <a:gd name="T44" fmla="*/ 288 w 297"/>
                <a:gd name="T45" fmla="*/ 190 h 297"/>
                <a:gd name="T46" fmla="*/ 219 w 297"/>
                <a:gd name="T47" fmla="*/ 279 h 297"/>
                <a:gd name="T48" fmla="*/ 198 w 297"/>
                <a:gd name="T49" fmla="*/ 289 h 297"/>
                <a:gd name="T50" fmla="*/ 198 w 297"/>
                <a:gd name="T51" fmla="*/ 289 h 297"/>
                <a:gd name="T52" fmla="*/ 282 w 297"/>
                <a:gd name="T53" fmla="*/ 212 h 297"/>
                <a:gd name="T54" fmla="*/ 249 w 297"/>
                <a:gd name="T55" fmla="*/ 255 h 297"/>
                <a:gd name="T56" fmla="*/ 249 w 297"/>
                <a:gd name="T57" fmla="*/ 255 h 297"/>
                <a:gd name="T58" fmla="*/ 1 w 297"/>
                <a:gd name="T59" fmla="*/ 134 h 297"/>
                <a:gd name="T60" fmla="*/ 171 w 297"/>
                <a:gd name="T61" fmla="*/ 4 h 297"/>
                <a:gd name="T62" fmla="*/ 164 w 297"/>
                <a:gd name="T63" fmla="*/ 4 h 297"/>
                <a:gd name="T64" fmla="*/ 148 w 297"/>
                <a:gd name="T65" fmla="*/ 0 h 297"/>
                <a:gd name="T66" fmla="*/ 7 w 297"/>
                <a:gd name="T67" fmla="*/ 112 h 297"/>
                <a:gd name="T68" fmla="*/ 7 w 297"/>
                <a:gd name="T69" fmla="*/ 112 h 297"/>
                <a:gd name="T70" fmla="*/ 0 w 297"/>
                <a:gd name="T71" fmla="*/ 157 h 297"/>
                <a:gd name="T72" fmla="*/ 125 w 297"/>
                <a:gd name="T73" fmla="*/ 4 h 297"/>
                <a:gd name="T74" fmla="*/ 118 w 297"/>
                <a:gd name="T75" fmla="*/ 6 h 297"/>
                <a:gd name="T76" fmla="*/ 80 w 297"/>
                <a:gd name="T77" fmla="*/ 17 h 297"/>
                <a:gd name="T78" fmla="*/ 95 w 297"/>
                <a:gd name="T79" fmla="*/ 13 h 297"/>
                <a:gd name="T80" fmla="*/ 94 w 297"/>
                <a:gd name="T81" fmla="*/ 11 h 297"/>
                <a:gd name="T82" fmla="*/ 60 w 297"/>
                <a:gd name="T83" fmla="*/ 30 h 297"/>
                <a:gd name="T84" fmla="*/ 62 w 297"/>
                <a:gd name="T85" fmla="*/ 32 h 297"/>
                <a:gd name="T86" fmla="*/ 13 w 297"/>
                <a:gd name="T87" fmla="*/ 89 h 297"/>
                <a:gd name="T88" fmla="*/ 194 w 297"/>
                <a:gd name="T89" fmla="*/ 10 h 297"/>
                <a:gd name="T90" fmla="*/ 186 w 297"/>
                <a:gd name="T91" fmla="*/ 8 h 297"/>
                <a:gd name="T92" fmla="*/ 236 w 297"/>
                <a:gd name="T93" fmla="*/ 29 h 297"/>
                <a:gd name="T94" fmla="*/ 32 w 297"/>
                <a:gd name="T95" fmla="*/ 241 h 297"/>
                <a:gd name="T96" fmla="*/ 32 w 297"/>
                <a:gd name="T97" fmla="*/ 241 h 297"/>
                <a:gd name="T98" fmla="*/ 3 w 297"/>
                <a:gd name="T99" fmla="*/ 179 h 297"/>
                <a:gd name="T100" fmla="*/ 44 w 297"/>
                <a:gd name="T101" fmla="*/ 251 h 297"/>
                <a:gd name="T102" fmla="*/ 252 w 297"/>
                <a:gd name="T103" fmla="*/ 47 h 297"/>
                <a:gd name="T104" fmla="*/ 247 w 297"/>
                <a:gd name="T105" fmla="*/ 41 h 297"/>
                <a:gd name="T106" fmla="*/ 7 w 297"/>
                <a:gd name="T107" fmla="*/ 194 h 297"/>
                <a:gd name="T108" fmla="*/ 267 w 297"/>
                <a:gd name="T109" fmla="*/ 64 h 297"/>
                <a:gd name="T110" fmla="*/ 263 w 297"/>
                <a:gd name="T111" fmla="*/ 58 h 297"/>
                <a:gd name="T112" fmla="*/ 215 w 297"/>
                <a:gd name="T113" fmla="*/ 19 h 297"/>
                <a:gd name="T114" fmla="*/ 208 w 297"/>
                <a:gd name="T115" fmla="*/ 16 h 297"/>
                <a:gd name="T116" fmla="*/ 19 w 297"/>
                <a:gd name="T117" fmla="*/ 222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7" h="297">
                  <a:moveTo>
                    <a:pt x="122" y="295"/>
                  </a:moveTo>
                  <a:cubicBezTo>
                    <a:pt x="125" y="295"/>
                    <a:pt x="127" y="296"/>
                    <a:pt x="130" y="296"/>
                  </a:cubicBezTo>
                  <a:cubicBezTo>
                    <a:pt x="130" y="295"/>
                    <a:pt x="130" y="294"/>
                    <a:pt x="130" y="294"/>
                  </a:cubicBezTo>
                  <a:cubicBezTo>
                    <a:pt x="128" y="293"/>
                    <a:pt x="125" y="293"/>
                    <a:pt x="123" y="292"/>
                  </a:cubicBezTo>
                  <a:cubicBezTo>
                    <a:pt x="123" y="293"/>
                    <a:pt x="123" y="294"/>
                    <a:pt x="122" y="295"/>
                  </a:cubicBezTo>
                  <a:close/>
                  <a:moveTo>
                    <a:pt x="153" y="297"/>
                  </a:moveTo>
                  <a:cubicBezTo>
                    <a:pt x="153" y="296"/>
                    <a:pt x="153" y="295"/>
                    <a:pt x="153" y="295"/>
                  </a:cubicBezTo>
                  <a:cubicBezTo>
                    <a:pt x="150" y="295"/>
                    <a:pt x="148" y="295"/>
                    <a:pt x="145" y="295"/>
                  </a:cubicBezTo>
                  <a:cubicBezTo>
                    <a:pt x="145" y="295"/>
                    <a:pt x="145" y="296"/>
                    <a:pt x="145" y="297"/>
                  </a:cubicBezTo>
                  <a:cubicBezTo>
                    <a:pt x="148" y="297"/>
                    <a:pt x="150" y="297"/>
                    <a:pt x="153" y="297"/>
                  </a:cubicBezTo>
                  <a:close/>
                  <a:moveTo>
                    <a:pt x="295" y="152"/>
                  </a:moveTo>
                  <a:cubicBezTo>
                    <a:pt x="296" y="152"/>
                    <a:pt x="296" y="152"/>
                    <a:pt x="297" y="152"/>
                  </a:cubicBezTo>
                  <a:cubicBezTo>
                    <a:pt x="297" y="149"/>
                    <a:pt x="297" y="147"/>
                    <a:pt x="297" y="144"/>
                  </a:cubicBezTo>
                  <a:cubicBezTo>
                    <a:pt x="296" y="144"/>
                    <a:pt x="296" y="144"/>
                    <a:pt x="295" y="144"/>
                  </a:cubicBezTo>
                  <a:cubicBezTo>
                    <a:pt x="295" y="144"/>
                    <a:pt x="295" y="144"/>
                    <a:pt x="294" y="144"/>
                  </a:cubicBezTo>
                  <a:cubicBezTo>
                    <a:pt x="294" y="147"/>
                    <a:pt x="294" y="149"/>
                    <a:pt x="294" y="152"/>
                  </a:cubicBezTo>
                  <a:cubicBezTo>
                    <a:pt x="295" y="152"/>
                    <a:pt x="295" y="152"/>
                    <a:pt x="295" y="152"/>
                  </a:cubicBezTo>
                  <a:close/>
                  <a:moveTo>
                    <a:pt x="293" y="128"/>
                  </a:moveTo>
                  <a:cubicBezTo>
                    <a:pt x="294" y="128"/>
                    <a:pt x="295" y="128"/>
                    <a:pt x="295" y="128"/>
                  </a:cubicBezTo>
                  <a:cubicBezTo>
                    <a:pt x="295" y="126"/>
                    <a:pt x="295" y="123"/>
                    <a:pt x="294" y="120"/>
                  </a:cubicBezTo>
                  <a:cubicBezTo>
                    <a:pt x="294" y="121"/>
                    <a:pt x="293" y="121"/>
                    <a:pt x="292" y="121"/>
                  </a:cubicBezTo>
                  <a:cubicBezTo>
                    <a:pt x="292" y="121"/>
                    <a:pt x="292" y="121"/>
                    <a:pt x="292" y="121"/>
                  </a:cubicBezTo>
                  <a:cubicBezTo>
                    <a:pt x="292" y="124"/>
                    <a:pt x="292" y="126"/>
                    <a:pt x="293" y="129"/>
                  </a:cubicBezTo>
                  <a:cubicBezTo>
                    <a:pt x="293" y="128"/>
                    <a:pt x="293" y="128"/>
                    <a:pt x="293" y="128"/>
                  </a:cubicBezTo>
                  <a:close/>
                  <a:moveTo>
                    <a:pt x="288" y="106"/>
                  </a:moveTo>
                  <a:cubicBezTo>
                    <a:pt x="289" y="106"/>
                    <a:pt x="290" y="105"/>
                    <a:pt x="290" y="105"/>
                  </a:cubicBezTo>
                  <a:cubicBezTo>
                    <a:pt x="289" y="103"/>
                    <a:pt x="289" y="100"/>
                    <a:pt x="288" y="98"/>
                  </a:cubicBezTo>
                  <a:cubicBezTo>
                    <a:pt x="287" y="98"/>
                    <a:pt x="287" y="98"/>
                    <a:pt x="286" y="99"/>
                  </a:cubicBezTo>
                  <a:cubicBezTo>
                    <a:pt x="286" y="99"/>
                    <a:pt x="286" y="99"/>
                    <a:pt x="285" y="99"/>
                  </a:cubicBezTo>
                  <a:cubicBezTo>
                    <a:pt x="286" y="101"/>
                    <a:pt x="287" y="103"/>
                    <a:pt x="288" y="106"/>
                  </a:cubicBezTo>
                  <a:cubicBezTo>
                    <a:pt x="288" y="106"/>
                    <a:pt x="288" y="106"/>
                    <a:pt x="288" y="106"/>
                  </a:cubicBezTo>
                  <a:close/>
                  <a:moveTo>
                    <a:pt x="107" y="291"/>
                  </a:moveTo>
                  <a:cubicBezTo>
                    <a:pt x="108" y="291"/>
                    <a:pt x="108" y="290"/>
                    <a:pt x="108" y="289"/>
                  </a:cubicBezTo>
                  <a:cubicBezTo>
                    <a:pt x="106" y="288"/>
                    <a:pt x="103" y="288"/>
                    <a:pt x="101" y="287"/>
                  </a:cubicBezTo>
                  <a:cubicBezTo>
                    <a:pt x="101" y="288"/>
                    <a:pt x="100" y="288"/>
                    <a:pt x="100" y="289"/>
                  </a:cubicBezTo>
                  <a:cubicBezTo>
                    <a:pt x="103" y="290"/>
                    <a:pt x="105" y="291"/>
                    <a:pt x="107" y="291"/>
                  </a:cubicBezTo>
                  <a:close/>
                  <a:moveTo>
                    <a:pt x="86" y="283"/>
                  </a:moveTo>
                  <a:cubicBezTo>
                    <a:pt x="86" y="283"/>
                    <a:pt x="87" y="282"/>
                    <a:pt x="87" y="281"/>
                  </a:cubicBezTo>
                  <a:cubicBezTo>
                    <a:pt x="85" y="280"/>
                    <a:pt x="82" y="279"/>
                    <a:pt x="80" y="278"/>
                  </a:cubicBezTo>
                  <a:cubicBezTo>
                    <a:pt x="80" y="278"/>
                    <a:pt x="79" y="279"/>
                    <a:pt x="79" y="280"/>
                  </a:cubicBezTo>
                  <a:cubicBezTo>
                    <a:pt x="81" y="281"/>
                    <a:pt x="84" y="282"/>
                    <a:pt x="86" y="283"/>
                  </a:cubicBezTo>
                  <a:close/>
                  <a:moveTo>
                    <a:pt x="66" y="272"/>
                  </a:moveTo>
                  <a:cubicBezTo>
                    <a:pt x="66" y="271"/>
                    <a:pt x="67" y="271"/>
                    <a:pt x="68" y="270"/>
                  </a:cubicBezTo>
                  <a:cubicBezTo>
                    <a:pt x="65" y="269"/>
                    <a:pt x="63" y="267"/>
                    <a:pt x="61" y="266"/>
                  </a:cubicBezTo>
                  <a:cubicBezTo>
                    <a:pt x="61" y="266"/>
                    <a:pt x="60" y="267"/>
                    <a:pt x="60" y="268"/>
                  </a:cubicBezTo>
                  <a:cubicBezTo>
                    <a:pt x="62" y="269"/>
                    <a:pt x="64" y="271"/>
                    <a:pt x="66" y="272"/>
                  </a:cubicBezTo>
                  <a:close/>
                  <a:moveTo>
                    <a:pt x="293" y="175"/>
                  </a:moveTo>
                  <a:cubicBezTo>
                    <a:pt x="294" y="175"/>
                    <a:pt x="294" y="175"/>
                    <a:pt x="294" y="175"/>
                  </a:cubicBezTo>
                  <a:cubicBezTo>
                    <a:pt x="295" y="173"/>
                    <a:pt x="295" y="170"/>
                    <a:pt x="296" y="168"/>
                  </a:cubicBezTo>
                  <a:cubicBezTo>
                    <a:pt x="295" y="168"/>
                    <a:pt x="295" y="168"/>
                    <a:pt x="294" y="167"/>
                  </a:cubicBezTo>
                  <a:cubicBezTo>
                    <a:pt x="294" y="167"/>
                    <a:pt x="293" y="167"/>
                    <a:pt x="293" y="167"/>
                  </a:cubicBezTo>
                  <a:cubicBezTo>
                    <a:pt x="293" y="170"/>
                    <a:pt x="292" y="172"/>
                    <a:pt x="292" y="175"/>
                  </a:cubicBezTo>
                  <a:cubicBezTo>
                    <a:pt x="292" y="175"/>
                    <a:pt x="293" y="175"/>
                    <a:pt x="293" y="175"/>
                  </a:cubicBezTo>
                  <a:close/>
                  <a:moveTo>
                    <a:pt x="279" y="84"/>
                  </a:moveTo>
                  <a:cubicBezTo>
                    <a:pt x="280" y="84"/>
                    <a:pt x="281" y="84"/>
                    <a:pt x="282" y="83"/>
                  </a:cubicBezTo>
                  <a:cubicBezTo>
                    <a:pt x="280" y="81"/>
                    <a:pt x="279" y="79"/>
                    <a:pt x="278" y="76"/>
                  </a:cubicBezTo>
                  <a:cubicBezTo>
                    <a:pt x="277" y="77"/>
                    <a:pt x="277" y="77"/>
                    <a:pt x="276" y="77"/>
                  </a:cubicBezTo>
                  <a:cubicBezTo>
                    <a:pt x="276" y="77"/>
                    <a:pt x="276" y="78"/>
                    <a:pt x="276" y="78"/>
                  </a:cubicBezTo>
                  <a:cubicBezTo>
                    <a:pt x="277" y="80"/>
                    <a:pt x="278" y="82"/>
                    <a:pt x="279" y="84"/>
                  </a:cubicBezTo>
                  <a:cubicBezTo>
                    <a:pt x="279" y="84"/>
                    <a:pt x="279" y="84"/>
                    <a:pt x="279" y="84"/>
                  </a:cubicBezTo>
                  <a:close/>
                  <a:moveTo>
                    <a:pt x="266" y="239"/>
                  </a:moveTo>
                  <a:cubicBezTo>
                    <a:pt x="266" y="239"/>
                    <a:pt x="266" y="239"/>
                    <a:pt x="266" y="239"/>
                  </a:cubicBezTo>
                  <a:cubicBezTo>
                    <a:pt x="268" y="237"/>
                    <a:pt x="269" y="235"/>
                    <a:pt x="271" y="233"/>
                  </a:cubicBezTo>
                  <a:cubicBezTo>
                    <a:pt x="271" y="233"/>
                    <a:pt x="271" y="233"/>
                    <a:pt x="271" y="233"/>
                  </a:cubicBezTo>
                  <a:cubicBezTo>
                    <a:pt x="270" y="232"/>
                    <a:pt x="269" y="232"/>
                    <a:pt x="269" y="231"/>
                  </a:cubicBezTo>
                  <a:cubicBezTo>
                    <a:pt x="267" y="234"/>
                    <a:pt x="266" y="236"/>
                    <a:pt x="264" y="237"/>
                  </a:cubicBezTo>
                  <a:cubicBezTo>
                    <a:pt x="265" y="238"/>
                    <a:pt x="265" y="238"/>
                    <a:pt x="266" y="239"/>
                  </a:cubicBezTo>
                  <a:close/>
                  <a:moveTo>
                    <a:pt x="28" y="63"/>
                  </a:moveTo>
                  <a:cubicBezTo>
                    <a:pt x="26" y="65"/>
                    <a:pt x="25" y="67"/>
                    <a:pt x="23" y="69"/>
                  </a:cubicBezTo>
                  <a:cubicBezTo>
                    <a:pt x="24" y="69"/>
                    <a:pt x="25" y="70"/>
                    <a:pt x="26" y="70"/>
                  </a:cubicBezTo>
                  <a:cubicBezTo>
                    <a:pt x="27" y="68"/>
                    <a:pt x="28" y="66"/>
                    <a:pt x="30" y="64"/>
                  </a:cubicBezTo>
                  <a:cubicBezTo>
                    <a:pt x="29" y="64"/>
                    <a:pt x="28" y="63"/>
                    <a:pt x="28" y="63"/>
                  </a:cubicBezTo>
                  <a:close/>
                  <a:moveTo>
                    <a:pt x="231" y="269"/>
                  </a:moveTo>
                  <a:cubicBezTo>
                    <a:pt x="232" y="270"/>
                    <a:pt x="232" y="270"/>
                    <a:pt x="233" y="271"/>
                  </a:cubicBezTo>
                  <a:cubicBezTo>
                    <a:pt x="235" y="270"/>
                    <a:pt x="237" y="268"/>
                    <a:pt x="239" y="267"/>
                  </a:cubicBezTo>
                  <a:cubicBezTo>
                    <a:pt x="238" y="266"/>
                    <a:pt x="238" y="265"/>
                    <a:pt x="237" y="265"/>
                  </a:cubicBezTo>
                  <a:cubicBezTo>
                    <a:pt x="235" y="266"/>
                    <a:pt x="233" y="268"/>
                    <a:pt x="231" y="269"/>
                  </a:cubicBezTo>
                  <a:close/>
                  <a:moveTo>
                    <a:pt x="176" y="295"/>
                  </a:moveTo>
                  <a:cubicBezTo>
                    <a:pt x="176" y="294"/>
                    <a:pt x="175" y="293"/>
                    <a:pt x="175" y="292"/>
                  </a:cubicBezTo>
                  <a:cubicBezTo>
                    <a:pt x="173" y="293"/>
                    <a:pt x="170" y="293"/>
                    <a:pt x="168" y="293"/>
                  </a:cubicBezTo>
                  <a:cubicBezTo>
                    <a:pt x="168" y="294"/>
                    <a:pt x="168" y="295"/>
                    <a:pt x="168" y="296"/>
                  </a:cubicBezTo>
                  <a:cubicBezTo>
                    <a:pt x="171" y="296"/>
                    <a:pt x="173" y="295"/>
                    <a:pt x="176" y="295"/>
                  </a:cubicBezTo>
                  <a:close/>
                  <a:moveTo>
                    <a:pt x="45" y="47"/>
                  </a:moveTo>
                  <a:cubicBezTo>
                    <a:pt x="44" y="46"/>
                    <a:pt x="43" y="45"/>
                    <a:pt x="43" y="45"/>
                  </a:cubicBezTo>
                  <a:cubicBezTo>
                    <a:pt x="41" y="47"/>
                    <a:pt x="39" y="48"/>
                    <a:pt x="38" y="50"/>
                  </a:cubicBezTo>
                  <a:cubicBezTo>
                    <a:pt x="38" y="51"/>
                    <a:pt x="39" y="51"/>
                    <a:pt x="39" y="52"/>
                  </a:cubicBezTo>
                  <a:cubicBezTo>
                    <a:pt x="41" y="50"/>
                    <a:pt x="43" y="48"/>
                    <a:pt x="45" y="47"/>
                  </a:cubicBezTo>
                  <a:close/>
                  <a:moveTo>
                    <a:pt x="287" y="197"/>
                  </a:moveTo>
                  <a:cubicBezTo>
                    <a:pt x="288" y="198"/>
                    <a:pt x="288" y="198"/>
                    <a:pt x="288" y="198"/>
                  </a:cubicBezTo>
                  <a:cubicBezTo>
                    <a:pt x="289" y="195"/>
                    <a:pt x="290" y="193"/>
                    <a:pt x="291" y="191"/>
                  </a:cubicBezTo>
                  <a:cubicBezTo>
                    <a:pt x="291" y="191"/>
                    <a:pt x="290" y="190"/>
                    <a:pt x="290" y="190"/>
                  </a:cubicBezTo>
                  <a:cubicBezTo>
                    <a:pt x="289" y="190"/>
                    <a:pt x="289" y="190"/>
                    <a:pt x="288" y="190"/>
                  </a:cubicBezTo>
                  <a:cubicBezTo>
                    <a:pt x="288" y="192"/>
                    <a:pt x="287" y="195"/>
                    <a:pt x="286" y="197"/>
                  </a:cubicBezTo>
                  <a:cubicBezTo>
                    <a:pt x="287" y="197"/>
                    <a:pt x="287" y="197"/>
                    <a:pt x="287" y="197"/>
                  </a:cubicBezTo>
                  <a:close/>
                  <a:moveTo>
                    <a:pt x="213" y="283"/>
                  </a:moveTo>
                  <a:cubicBezTo>
                    <a:pt x="215" y="282"/>
                    <a:pt x="217" y="280"/>
                    <a:pt x="219" y="279"/>
                  </a:cubicBezTo>
                  <a:cubicBezTo>
                    <a:pt x="219" y="279"/>
                    <a:pt x="218" y="278"/>
                    <a:pt x="218" y="277"/>
                  </a:cubicBezTo>
                  <a:cubicBezTo>
                    <a:pt x="216" y="278"/>
                    <a:pt x="214" y="279"/>
                    <a:pt x="211" y="280"/>
                  </a:cubicBezTo>
                  <a:cubicBezTo>
                    <a:pt x="212" y="281"/>
                    <a:pt x="212" y="282"/>
                    <a:pt x="213" y="283"/>
                  </a:cubicBezTo>
                  <a:close/>
                  <a:moveTo>
                    <a:pt x="198" y="289"/>
                  </a:moveTo>
                  <a:cubicBezTo>
                    <a:pt x="198" y="288"/>
                    <a:pt x="197" y="287"/>
                    <a:pt x="197" y="286"/>
                  </a:cubicBezTo>
                  <a:cubicBezTo>
                    <a:pt x="195" y="287"/>
                    <a:pt x="192" y="288"/>
                    <a:pt x="190" y="289"/>
                  </a:cubicBezTo>
                  <a:cubicBezTo>
                    <a:pt x="190" y="289"/>
                    <a:pt x="191" y="290"/>
                    <a:pt x="191" y="291"/>
                  </a:cubicBezTo>
                  <a:cubicBezTo>
                    <a:pt x="193" y="290"/>
                    <a:pt x="196" y="290"/>
                    <a:pt x="198" y="289"/>
                  </a:cubicBezTo>
                  <a:close/>
                  <a:moveTo>
                    <a:pt x="278" y="219"/>
                  </a:moveTo>
                  <a:cubicBezTo>
                    <a:pt x="279" y="219"/>
                    <a:pt x="279" y="219"/>
                    <a:pt x="279" y="219"/>
                  </a:cubicBezTo>
                  <a:cubicBezTo>
                    <a:pt x="280" y="217"/>
                    <a:pt x="281" y="215"/>
                    <a:pt x="282" y="213"/>
                  </a:cubicBezTo>
                  <a:cubicBezTo>
                    <a:pt x="282" y="212"/>
                    <a:pt x="282" y="212"/>
                    <a:pt x="282" y="212"/>
                  </a:cubicBezTo>
                  <a:cubicBezTo>
                    <a:pt x="281" y="212"/>
                    <a:pt x="281" y="212"/>
                    <a:pt x="280" y="212"/>
                  </a:cubicBezTo>
                  <a:cubicBezTo>
                    <a:pt x="279" y="214"/>
                    <a:pt x="278" y="216"/>
                    <a:pt x="277" y="218"/>
                  </a:cubicBezTo>
                  <a:cubicBezTo>
                    <a:pt x="277" y="218"/>
                    <a:pt x="278" y="219"/>
                    <a:pt x="278" y="219"/>
                  </a:cubicBezTo>
                  <a:close/>
                  <a:moveTo>
                    <a:pt x="249" y="255"/>
                  </a:moveTo>
                  <a:cubicBezTo>
                    <a:pt x="250" y="255"/>
                    <a:pt x="250" y="256"/>
                    <a:pt x="251" y="256"/>
                  </a:cubicBezTo>
                  <a:cubicBezTo>
                    <a:pt x="253" y="255"/>
                    <a:pt x="254" y="253"/>
                    <a:pt x="256" y="251"/>
                  </a:cubicBezTo>
                  <a:cubicBezTo>
                    <a:pt x="255" y="250"/>
                    <a:pt x="255" y="250"/>
                    <a:pt x="254" y="249"/>
                  </a:cubicBezTo>
                  <a:cubicBezTo>
                    <a:pt x="252" y="251"/>
                    <a:pt x="251" y="253"/>
                    <a:pt x="249" y="255"/>
                  </a:cubicBezTo>
                  <a:close/>
                  <a:moveTo>
                    <a:pt x="3" y="134"/>
                  </a:moveTo>
                  <a:cubicBezTo>
                    <a:pt x="4" y="132"/>
                    <a:pt x="4" y="129"/>
                    <a:pt x="4" y="126"/>
                  </a:cubicBezTo>
                  <a:cubicBezTo>
                    <a:pt x="4" y="126"/>
                    <a:pt x="3" y="126"/>
                    <a:pt x="2" y="126"/>
                  </a:cubicBezTo>
                  <a:cubicBezTo>
                    <a:pt x="1" y="129"/>
                    <a:pt x="1" y="131"/>
                    <a:pt x="1" y="134"/>
                  </a:cubicBezTo>
                  <a:cubicBezTo>
                    <a:pt x="2" y="134"/>
                    <a:pt x="3" y="134"/>
                    <a:pt x="3" y="134"/>
                  </a:cubicBezTo>
                  <a:close/>
                  <a:moveTo>
                    <a:pt x="164" y="4"/>
                  </a:moveTo>
                  <a:cubicBezTo>
                    <a:pt x="166" y="4"/>
                    <a:pt x="168" y="4"/>
                    <a:pt x="171" y="5"/>
                  </a:cubicBezTo>
                  <a:cubicBezTo>
                    <a:pt x="171" y="5"/>
                    <a:pt x="171" y="4"/>
                    <a:pt x="171" y="4"/>
                  </a:cubicBezTo>
                  <a:cubicBezTo>
                    <a:pt x="171" y="3"/>
                    <a:pt x="171" y="3"/>
                    <a:pt x="171" y="2"/>
                  </a:cubicBezTo>
                  <a:cubicBezTo>
                    <a:pt x="169" y="2"/>
                    <a:pt x="166" y="2"/>
                    <a:pt x="164" y="1"/>
                  </a:cubicBezTo>
                  <a:cubicBezTo>
                    <a:pt x="164" y="2"/>
                    <a:pt x="164" y="2"/>
                    <a:pt x="164" y="3"/>
                  </a:cubicBezTo>
                  <a:cubicBezTo>
                    <a:pt x="164" y="3"/>
                    <a:pt x="164" y="3"/>
                    <a:pt x="164" y="4"/>
                  </a:cubicBezTo>
                  <a:close/>
                  <a:moveTo>
                    <a:pt x="140" y="3"/>
                  </a:moveTo>
                  <a:cubicBezTo>
                    <a:pt x="143" y="3"/>
                    <a:pt x="145" y="3"/>
                    <a:pt x="148" y="3"/>
                  </a:cubicBezTo>
                  <a:cubicBezTo>
                    <a:pt x="148" y="3"/>
                    <a:pt x="148" y="2"/>
                    <a:pt x="148" y="2"/>
                  </a:cubicBezTo>
                  <a:cubicBezTo>
                    <a:pt x="148" y="1"/>
                    <a:pt x="148" y="1"/>
                    <a:pt x="148" y="0"/>
                  </a:cubicBezTo>
                  <a:cubicBezTo>
                    <a:pt x="145" y="0"/>
                    <a:pt x="143" y="1"/>
                    <a:pt x="140" y="1"/>
                  </a:cubicBezTo>
                  <a:cubicBezTo>
                    <a:pt x="140" y="1"/>
                    <a:pt x="140" y="1"/>
                    <a:pt x="140" y="2"/>
                  </a:cubicBezTo>
                  <a:cubicBezTo>
                    <a:pt x="140" y="2"/>
                    <a:pt x="140" y="3"/>
                    <a:pt x="140" y="3"/>
                  </a:cubicBezTo>
                  <a:close/>
                  <a:moveTo>
                    <a:pt x="7" y="112"/>
                  </a:moveTo>
                  <a:cubicBezTo>
                    <a:pt x="8" y="109"/>
                    <a:pt x="9" y="107"/>
                    <a:pt x="10" y="104"/>
                  </a:cubicBezTo>
                  <a:cubicBezTo>
                    <a:pt x="9" y="104"/>
                    <a:pt x="8" y="104"/>
                    <a:pt x="7" y="104"/>
                  </a:cubicBezTo>
                  <a:cubicBezTo>
                    <a:pt x="6" y="106"/>
                    <a:pt x="6" y="109"/>
                    <a:pt x="5" y="111"/>
                  </a:cubicBezTo>
                  <a:cubicBezTo>
                    <a:pt x="6" y="111"/>
                    <a:pt x="7" y="111"/>
                    <a:pt x="7" y="112"/>
                  </a:cubicBezTo>
                  <a:close/>
                  <a:moveTo>
                    <a:pt x="3" y="157"/>
                  </a:moveTo>
                  <a:cubicBezTo>
                    <a:pt x="3" y="154"/>
                    <a:pt x="3" y="152"/>
                    <a:pt x="3" y="149"/>
                  </a:cubicBezTo>
                  <a:cubicBezTo>
                    <a:pt x="2" y="149"/>
                    <a:pt x="1" y="149"/>
                    <a:pt x="0" y="149"/>
                  </a:cubicBezTo>
                  <a:cubicBezTo>
                    <a:pt x="0" y="152"/>
                    <a:pt x="0" y="154"/>
                    <a:pt x="0" y="157"/>
                  </a:cubicBezTo>
                  <a:cubicBezTo>
                    <a:pt x="1" y="157"/>
                    <a:pt x="2" y="157"/>
                    <a:pt x="3" y="157"/>
                  </a:cubicBezTo>
                  <a:close/>
                  <a:moveTo>
                    <a:pt x="118" y="6"/>
                  </a:moveTo>
                  <a:cubicBezTo>
                    <a:pt x="120" y="6"/>
                    <a:pt x="122" y="5"/>
                    <a:pt x="125" y="5"/>
                  </a:cubicBezTo>
                  <a:cubicBezTo>
                    <a:pt x="125" y="5"/>
                    <a:pt x="125" y="4"/>
                    <a:pt x="125" y="4"/>
                  </a:cubicBezTo>
                  <a:cubicBezTo>
                    <a:pt x="125" y="3"/>
                    <a:pt x="125" y="3"/>
                    <a:pt x="124" y="2"/>
                  </a:cubicBezTo>
                  <a:cubicBezTo>
                    <a:pt x="122" y="3"/>
                    <a:pt x="119" y="3"/>
                    <a:pt x="117" y="4"/>
                  </a:cubicBezTo>
                  <a:cubicBezTo>
                    <a:pt x="117" y="4"/>
                    <a:pt x="117" y="4"/>
                    <a:pt x="117" y="5"/>
                  </a:cubicBezTo>
                  <a:cubicBezTo>
                    <a:pt x="117" y="5"/>
                    <a:pt x="117" y="6"/>
                    <a:pt x="118" y="6"/>
                  </a:cubicBezTo>
                  <a:close/>
                  <a:moveTo>
                    <a:pt x="75" y="23"/>
                  </a:moveTo>
                  <a:cubicBezTo>
                    <a:pt x="77" y="22"/>
                    <a:pt x="79" y="21"/>
                    <a:pt x="81" y="19"/>
                  </a:cubicBezTo>
                  <a:cubicBezTo>
                    <a:pt x="81" y="19"/>
                    <a:pt x="81" y="18"/>
                    <a:pt x="80" y="18"/>
                  </a:cubicBezTo>
                  <a:cubicBezTo>
                    <a:pt x="80" y="17"/>
                    <a:pt x="80" y="17"/>
                    <a:pt x="80" y="17"/>
                  </a:cubicBezTo>
                  <a:cubicBezTo>
                    <a:pt x="78" y="18"/>
                    <a:pt x="76" y="19"/>
                    <a:pt x="73" y="21"/>
                  </a:cubicBezTo>
                  <a:cubicBezTo>
                    <a:pt x="73" y="21"/>
                    <a:pt x="74" y="21"/>
                    <a:pt x="74" y="21"/>
                  </a:cubicBezTo>
                  <a:cubicBezTo>
                    <a:pt x="74" y="22"/>
                    <a:pt x="74" y="22"/>
                    <a:pt x="75" y="23"/>
                  </a:cubicBezTo>
                  <a:close/>
                  <a:moveTo>
                    <a:pt x="95" y="13"/>
                  </a:moveTo>
                  <a:cubicBezTo>
                    <a:pt x="98" y="12"/>
                    <a:pt x="100" y="11"/>
                    <a:pt x="102" y="11"/>
                  </a:cubicBezTo>
                  <a:cubicBezTo>
                    <a:pt x="102" y="10"/>
                    <a:pt x="102" y="9"/>
                    <a:pt x="102" y="9"/>
                  </a:cubicBezTo>
                  <a:cubicBezTo>
                    <a:pt x="102" y="9"/>
                    <a:pt x="102" y="8"/>
                    <a:pt x="102" y="8"/>
                  </a:cubicBezTo>
                  <a:cubicBezTo>
                    <a:pt x="99" y="9"/>
                    <a:pt x="97" y="10"/>
                    <a:pt x="94" y="11"/>
                  </a:cubicBezTo>
                  <a:cubicBezTo>
                    <a:pt x="95" y="11"/>
                    <a:pt x="95" y="11"/>
                    <a:pt x="95" y="11"/>
                  </a:cubicBezTo>
                  <a:cubicBezTo>
                    <a:pt x="95" y="12"/>
                    <a:pt x="95" y="12"/>
                    <a:pt x="95" y="13"/>
                  </a:cubicBezTo>
                  <a:close/>
                  <a:moveTo>
                    <a:pt x="62" y="32"/>
                  </a:moveTo>
                  <a:cubicBezTo>
                    <a:pt x="61" y="31"/>
                    <a:pt x="61" y="30"/>
                    <a:pt x="60" y="30"/>
                  </a:cubicBezTo>
                  <a:cubicBezTo>
                    <a:pt x="60" y="30"/>
                    <a:pt x="60" y="29"/>
                    <a:pt x="60" y="29"/>
                  </a:cubicBezTo>
                  <a:cubicBezTo>
                    <a:pt x="58" y="31"/>
                    <a:pt x="56" y="32"/>
                    <a:pt x="54" y="34"/>
                  </a:cubicBezTo>
                  <a:cubicBezTo>
                    <a:pt x="55" y="35"/>
                    <a:pt x="55" y="35"/>
                    <a:pt x="56" y="36"/>
                  </a:cubicBezTo>
                  <a:cubicBezTo>
                    <a:pt x="58" y="35"/>
                    <a:pt x="60" y="33"/>
                    <a:pt x="62" y="32"/>
                  </a:cubicBezTo>
                  <a:close/>
                  <a:moveTo>
                    <a:pt x="15" y="90"/>
                  </a:moveTo>
                  <a:cubicBezTo>
                    <a:pt x="16" y="88"/>
                    <a:pt x="17" y="86"/>
                    <a:pt x="18" y="83"/>
                  </a:cubicBezTo>
                  <a:cubicBezTo>
                    <a:pt x="17" y="83"/>
                    <a:pt x="16" y="83"/>
                    <a:pt x="16" y="82"/>
                  </a:cubicBezTo>
                  <a:cubicBezTo>
                    <a:pt x="15" y="85"/>
                    <a:pt x="14" y="87"/>
                    <a:pt x="13" y="89"/>
                  </a:cubicBezTo>
                  <a:cubicBezTo>
                    <a:pt x="13" y="89"/>
                    <a:pt x="14" y="90"/>
                    <a:pt x="15" y="90"/>
                  </a:cubicBezTo>
                  <a:close/>
                  <a:moveTo>
                    <a:pt x="186" y="8"/>
                  </a:moveTo>
                  <a:cubicBezTo>
                    <a:pt x="189" y="9"/>
                    <a:pt x="191" y="9"/>
                    <a:pt x="193" y="10"/>
                  </a:cubicBezTo>
                  <a:cubicBezTo>
                    <a:pt x="194" y="10"/>
                    <a:pt x="194" y="10"/>
                    <a:pt x="194" y="10"/>
                  </a:cubicBezTo>
                  <a:cubicBezTo>
                    <a:pt x="194" y="9"/>
                    <a:pt x="194" y="8"/>
                    <a:pt x="194" y="8"/>
                  </a:cubicBezTo>
                  <a:cubicBezTo>
                    <a:pt x="192" y="7"/>
                    <a:pt x="189" y="6"/>
                    <a:pt x="187" y="5"/>
                  </a:cubicBezTo>
                  <a:cubicBezTo>
                    <a:pt x="187" y="6"/>
                    <a:pt x="187" y="7"/>
                    <a:pt x="187" y="7"/>
                  </a:cubicBezTo>
                  <a:cubicBezTo>
                    <a:pt x="186" y="7"/>
                    <a:pt x="186" y="8"/>
                    <a:pt x="186" y="8"/>
                  </a:cubicBezTo>
                  <a:close/>
                  <a:moveTo>
                    <a:pt x="229" y="27"/>
                  </a:moveTo>
                  <a:cubicBezTo>
                    <a:pt x="231" y="28"/>
                    <a:pt x="233" y="30"/>
                    <a:pt x="235" y="31"/>
                  </a:cubicBezTo>
                  <a:cubicBezTo>
                    <a:pt x="235" y="31"/>
                    <a:pt x="235" y="31"/>
                    <a:pt x="235" y="31"/>
                  </a:cubicBezTo>
                  <a:cubicBezTo>
                    <a:pt x="235" y="30"/>
                    <a:pt x="236" y="30"/>
                    <a:pt x="236" y="29"/>
                  </a:cubicBezTo>
                  <a:cubicBezTo>
                    <a:pt x="234" y="28"/>
                    <a:pt x="232" y="26"/>
                    <a:pt x="230" y="25"/>
                  </a:cubicBezTo>
                  <a:cubicBezTo>
                    <a:pt x="230" y="25"/>
                    <a:pt x="229" y="26"/>
                    <a:pt x="229" y="27"/>
                  </a:cubicBezTo>
                  <a:cubicBezTo>
                    <a:pt x="229" y="27"/>
                    <a:pt x="229" y="27"/>
                    <a:pt x="229" y="27"/>
                  </a:cubicBezTo>
                  <a:close/>
                  <a:moveTo>
                    <a:pt x="32" y="241"/>
                  </a:moveTo>
                  <a:cubicBezTo>
                    <a:pt x="33" y="241"/>
                    <a:pt x="34" y="240"/>
                    <a:pt x="34" y="240"/>
                  </a:cubicBezTo>
                  <a:cubicBezTo>
                    <a:pt x="33" y="238"/>
                    <a:pt x="31" y="236"/>
                    <a:pt x="30" y="233"/>
                  </a:cubicBezTo>
                  <a:cubicBezTo>
                    <a:pt x="29" y="234"/>
                    <a:pt x="28" y="235"/>
                    <a:pt x="28" y="235"/>
                  </a:cubicBezTo>
                  <a:cubicBezTo>
                    <a:pt x="29" y="237"/>
                    <a:pt x="31" y="239"/>
                    <a:pt x="32" y="241"/>
                  </a:cubicBezTo>
                  <a:close/>
                  <a:moveTo>
                    <a:pt x="6" y="179"/>
                  </a:moveTo>
                  <a:cubicBezTo>
                    <a:pt x="5" y="177"/>
                    <a:pt x="5" y="174"/>
                    <a:pt x="4" y="171"/>
                  </a:cubicBezTo>
                  <a:cubicBezTo>
                    <a:pt x="4" y="172"/>
                    <a:pt x="3" y="172"/>
                    <a:pt x="2" y="172"/>
                  </a:cubicBezTo>
                  <a:cubicBezTo>
                    <a:pt x="2" y="175"/>
                    <a:pt x="3" y="177"/>
                    <a:pt x="3" y="179"/>
                  </a:cubicBezTo>
                  <a:cubicBezTo>
                    <a:pt x="4" y="179"/>
                    <a:pt x="5" y="179"/>
                    <a:pt x="6" y="179"/>
                  </a:cubicBezTo>
                  <a:close/>
                  <a:moveTo>
                    <a:pt x="48" y="258"/>
                  </a:moveTo>
                  <a:cubicBezTo>
                    <a:pt x="48" y="257"/>
                    <a:pt x="49" y="257"/>
                    <a:pt x="50" y="256"/>
                  </a:cubicBezTo>
                  <a:cubicBezTo>
                    <a:pt x="48" y="254"/>
                    <a:pt x="46" y="253"/>
                    <a:pt x="44" y="251"/>
                  </a:cubicBezTo>
                  <a:cubicBezTo>
                    <a:pt x="44" y="251"/>
                    <a:pt x="43" y="252"/>
                    <a:pt x="42" y="253"/>
                  </a:cubicBezTo>
                  <a:cubicBezTo>
                    <a:pt x="44" y="255"/>
                    <a:pt x="46" y="256"/>
                    <a:pt x="48" y="258"/>
                  </a:cubicBezTo>
                  <a:close/>
                  <a:moveTo>
                    <a:pt x="247" y="41"/>
                  </a:moveTo>
                  <a:cubicBezTo>
                    <a:pt x="249" y="43"/>
                    <a:pt x="250" y="45"/>
                    <a:pt x="252" y="47"/>
                  </a:cubicBezTo>
                  <a:cubicBezTo>
                    <a:pt x="252" y="46"/>
                    <a:pt x="252" y="46"/>
                    <a:pt x="252" y="46"/>
                  </a:cubicBezTo>
                  <a:cubicBezTo>
                    <a:pt x="253" y="46"/>
                    <a:pt x="254" y="45"/>
                    <a:pt x="254" y="45"/>
                  </a:cubicBezTo>
                  <a:cubicBezTo>
                    <a:pt x="252" y="43"/>
                    <a:pt x="250" y="41"/>
                    <a:pt x="248" y="39"/>
                  </a:cubicBezTo>
                  <a:cubicBezTo>
                    <a:pt x="248" y="40"/>
                    <a:pt x="248" y="40"/>
                    <a:pt x="247" y="41"/>
                  </a:cubicBezTo>
                  <a:cubicBezTo>
                    <a:pt x="247" y="41"/>
                    <a:pt x="247" y="41"/>
                    <a:pt x="247" y="41"/>
                  </a:cubicBezTo>
                  <a:close/>
                  <a:moveTo>
                    <a:pt x="12" y="201"/>
                  </a:moveTo>
                  <a:cubicBezTo>
                    <a:pt x="11" y="198"/>
                    <a:pt x="10" y="196"/>
                    <a:pt x="10" y="193"/>
                  </a:cubicBezTo>
                  <a:cubicBezTo>
                    <a:pt x="9" y="194"/>
                    <a:pt x="8" y="194"/>
                    <a:pt x="7" y="194"/>
                  </a:cubicBezTo>
                  <a:cubicBezTo>
                    <a:pt x="8" y="197"/>
                    <a:pt x="9" y="199"/>
                    <a:pt x="10" y="201"/>
                  </a:cubicBezTo>
                  <a:cubicBezTo>
                    <a:pt x="10" y="201"/>
                    <a:pt x="11" y="201"/>
                    <a:pt x="12" y="201"/>
                  </a:cubicBezTo>
                  <a:close/>
                  <a:moveTo>
                    <a:pt x="263" y="58"/>
                  </a:moveTo>
                  <a:cubicBezTo>
                    <a:pt x="264" y="60"/>
                    <a:pt x="266" y="62"/>
                    <a:pt x="267" y="64"/>
                  </a:cubicBezTo>
                  <a:cubicBezTo>
                    <a:pt x="267" y="64"/>
                    <a:pt x="267" y="64"/>
                    <a:pt x="267" y="64"/>
                  </a:cubicBezTo>
                  <a:cubicBezTo>
                    <a:pt x="268" y="64"/>
                    <a:pt x="269" y="63"/>
                    <a:pt x="269" y="63"/>
                  </a:cubicBezTo>
                  <a:cubicBezTo>
                    <a:pt x="268" y="61"/>
                    <a:pt x="266" y="59"/>
                    <a:pt x="265" y="57"/>
                  </a:cubicBezTo>
                  <a:cubicBezTo>
                    <a:pt x="264" y="57"/>
                    <a:pt x="264" y="58"/>
                    <a:pt x="263" y="58"/>
                  </a:cubicBezTo>
                  <a:cubicBezTo>
                    <a:pt x="263" y="58"/>
                    <a:pt x="263" y="58"/>
                    <a:pt x="263" y="58"/>
                  </a:cubicBezTo>
                  <a:close/>
                  <a:moveTo>
                    <a:pt x="208" y="16"/>
                  </a:moveTo>
                  <a:cubicBezTo>
                    <a:pt x="210" y="17"/>
                    <a:pt x="213" y="18"/>
                    <a:pt x="215" y="19"/>
                  </a:cubicBezTo>
                  <a:cubicBezTo>
                    <a:pt x="215" y="19"/>
                    <a:pt x="215" y="19"/>
                    <a:pt x="215" y="19"/>
                  </a:cubicBezTo>
                  <a:cubicBezTo>
                    <a:pt x="215" y="18"/>
                    <a:pt x="216" y="17"/>
                    <a:pt x="216" y="17"/>
                  </a:cubicBezTo>
                  <a:cubicBezTo>
                    <a:pt x="214" y="16"/>
                    <a:pt x="211" y="14"/>
                    <a:pt x="209" y="13"/>
                  </a:cubicBezTo>
                  <a:cubicBezTo>
                    <a:pt x="209" y="14"/>
                    <a:pt x="209" y="15"/>
                    <a:pt x="208" y="15"/>
                  </a:cubicBezTo>
                  <a:cubicBezTo>
                    <a:pt x="208" y="15"/>
                    <a:pt x="208" y="16"/>
                    <a:pt x="208" y="16"/>
                  </a:cubicBezTo>
                  <a:close/>
                  <a:moveTo>
                    <a:pt x="22" y="221"/>
                  </a:moveTo>
                  <a:cubicBezTo>
                    <a:pt x="20" y="219"/>
                    <a:pt x="19" y="217"/>
                    <a:pt x="18" y="214"/>
                  </a:cubicBezTo>
                  <a:cubicBezTo>
                    <a:pt x="17" y="215"/>
                    <a:pt x="17" y="215"/>
                    <a:pt x="16" y="216"/>
                  </a:cubicBezTo>
                  <a:cubicBezTo>
                    <a:pt x="17" y="218"/>
                    <a:pt x="18" y="220"/>
                    <a:pt x="19" y="222"/>
                  </a:cubicBezTo>
                  <a:cubicBezTo>
                    <a:pt x="20" y="222"/>
                    <a:pt x="21" y="221"/>
                    <a:pt x="22" y="2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IN" sz="1798" kern="0">
                <a:solidFill>
                  <a:srgbClr val="FFFFFF"/>
                </a:solidFill>
              </a:endParaRPr>
            </a:p>
          </p:txBody>
        </p:sp>
      </p:grpSp>
      <p:sp>
        <p:nvSpPr>
          <p:cNvPr id="21" name="Freeform 44"/>
          <p:cNvSpPr>
            <a:spLocks noEditPoints="1"/>
          </p:cNvSpPr>
          <p:nvPr userDrawn="1"/>
        </p:nvSpPr>
        <p:spPr bwMode="auto">
          <a:xfrm>
            <a:off x="1009599" y="4889398"/>
            <a:ext cx="303350" cy="303782"/>
          </a:xfrm>
          <a:custGeom>
            <a:avLst/>
            <a:gdLst>
              <a:gd name="T0" fmla="*/ 50 w 468"/>
              <a:gd name="T1" fmla="*/ 110 h 468"/>
              <a:gd name="T2" fmla="*/ 26 w 468"/>
              <a:gd name="T3" fmla="*/ 169 h 468"/>
              <a:gd name="T4" fmla="*/ 35 w 468"/>
              <a:gd name="T5" fmla="*/ 215 h 468"/>
              <a:gd name="T6" fmla="*/ 18 w 468"/>
              <a:gd name="T7" fmla="*/ 258 h 468"/>
              <a:gd name="T8" fmla="*/ 29 w 468"/>
              <a:gd name="T9" fmla="*/ 320 h 468"/>
              <a:gd name="T10" fmla="*/ 40 w 468"/>
              <a:gd name="T11" fmla="*/ 366 h 468"/>
              <a:gd name="T12" fmla="*/ 88 w 468"/>
              <a:gd name="T13" fmla="*/ 396 h 468"/>
              <a:gd name="T14" fmla="*/ 132 w 468"/>
              <a:gd name="T15" fmla="*/ 406 h 468"/>
              <a:gd name="T16" fmla="*/ 166 w 468"/>
              <a:gd name="T17" fmla="*/ 440 h 468"/>
              <a:gd name="T18" fmla="*/ 216 w 468"/>
              <a:gd name="T19" fmla="*/ 467 h 468"/>
              <a:gd name="T20" fmla="*/ 273 w 468"/>
              <a:gd name="T21" fmla="*/ 465 h 468"/>
              <a:gd name="T22" fmla="*/ 321 w 468"/>
              <a:gd name="T23" fmla="*/ 434 h 468"/>
              <a:gd name="T24" fmla="*/ 350 w 468"/>
              <a:gd name="T25" fmla="*/ 397 h 468"/>
              <a:gd name="T26" fmla="*/ 398 w 468"/>
              <a:gd name="T27" fmla="*/ 385 h 468"/>
              <a:gd name="T28" fmla="*/ 439 w 468"/>
              <a:gd name="T29" fmla="*/ 347 h 468"/>
              <a:gd name="T30" fmla="*/ 460 w 468"/>
              <a:gd name="T31" fmla="*/ 294 h 468"/>
              <a:gd name="T32" fmla="*/ 456 w 468"/>
              <a:gd name="T33" fmla="*/ 239 h 468"/>
              <a:gd name="T34" fmla="*/ 444 w 468"/>
              <a:gd name="T35" fmla="*/ 177 h 468"/>
              <a:gd name="T36" fmla="*/ 413 w 468"/>
              <a:gd name="T37" fmla="*/ 145 h 468"/>
              <a:gd name="T38" fmla="*/ 402 w 468"/>
              <a:gd name="T39" fmla="*/ 97 h 468"/>
              <a:gd name="T40" fmla="*/ 360 w 468"/>
              <a:gd name="T41" fmla="*/ 50 h 468"/>
              <a:gd name="T42" fmla="*/ 317 w 468"/>
              <a:gd name="T43" fmla="*/ 15 h 468"/>
              <a:gd name="T44" fmla="*/ 261 w 468"/>
              <a:gd name="T45" fmla="*/ 2 h 468"/>
              <a:gd name="T46" fmla="*/ 207 w 468"/>
              <a:gd name="T47" fmla="*/ 13 h 468"/>
              <a:gd name="T48" fmla="*/ 149 w 468"/>
              <a:gd name="T49" fmla="*/ 40 h 468"/>
              <a:gd name="T50" fmla="*/ 115 w 468"/>
              <a:gd name="T51" fmla="*/ 73 h 468"/>
              <a:gd name="T52" fmla="*/ 85 w 468"/>
              <a:gd name="T53" fmla="*/ 175 h 468"/>
              <a:gd name="T54" fmla="*/ 92 w 468"/>
              <a:gd name="T55" fmla="*/ 280 h 468"/>
              <a:gd name="T56" fmla="*/ 192 w 468"/>
              <a:gd name="T57" fmla="*/ 145 h 468"/>
              <a:gd name="T58" fmla="*/ 145 w 468"/>
              <a:gd name="T59" fmla="*/ 146 h 468"/>
              <a:gd name="T60" fmla="*/ 263 w 468"/>
              <a:gd name="T61" fmla="*/ 152 h 468"/>
              <a:gd name="T62" fmla="*/ 312 w 468"/>
              <a:gd name="T63" fmla="*/ 197 h 468"/>
              <a:gd name="T64" fmla="*/ 327 w 468"/>
              <a:gd name="T65" fmla="*/ 149 h 468"/>
              <a:gd name="T66" fmla="*/ 296 w 468"/>
              <a:gd name="T67" fmla="*/ 311 h 468"/>
              <a:gd name="T68" fmla="*/ 310 w 468"/>
              <a:gd name="T69" fmla="*/ 297 h 468"/>
              <a:gd name="T70" fmla="*/ 200 w 468"/>
              <a:gd name="T71" fmla="*/ 327 h 468"/>
              <a:gd name="T72" fmla="*/ 145 w 468"/>
              <a:gd name="T73" fmla="*/ 276 h 468"/>
              <a:gd name="T74" fmla="*/ 149 w 468"/>
              <a:gd name="T75" fmla="*/ 326 h 468"/>
              <a:gd name="T76" fmla="*/ 137 w 468"/>
              <a:gd name="T77" fmla="*/ 217 h 468"/>
              <a:gd name="T78" fmla="*/ 109 w 468"/>
              <a:gd name="T79" fmla="*/ 236 h 468"/>
              <a:gd name="T80" fmla="*/ 268 w 468"/>
              <a:gd name="T81" fmla="*/ 203 h 468"/>
              <a:gd name="T82" fmla="*/ 359 w 468"/>
              <a:gd name="T83" fmla="*/ 227 h 468"/>
              <a:gd name="T84" fmla="*/ 97 w 468"/>
              <a:gd name="T85" fmla="*/ 294 h 468"/>
              <a:gd name="T86" fmla="*/ 166 w 468"/>
              <a:gd name="T87" fmla="*/ 367 h 468"/>
              <a:gd name="T88" fmla="*/ 220 w 468"/>
              <a:gd name="T89" fmla="*/ 369 h 468"/>
              <a:gd name="T90" fmla="*/ 297 w 468"/>
              <a:gd name="T91" fmla="*/ 381 h 468"/>
              <a:gd name="T92" fmla="*/ 344 w 468"/>
              <a:gd name="T93" fmla="*/ 334 h 468"/>
              <a:gd name="T94" fmla="*/ 373 w 468"/>
              <a:gd name="T95" fmla="*/ 289 h 468"/>
              <a:gd name="T96" fmla="*/ 386 w 468"/>
              <a:gd name="T97" fmla="*/ 184 h 468"/>
              <a:gd name="T98" fmla="*/ 341 w 468"/>
              <a:gd name="T99" fmla="*/ 150 h 468"/>
              <a:gd name="T100" fmla="*/ 352 w 468"/>
              <a:gd name="T101" fmla="*/ 126 h 468"/>
              <a:gd name="T102" fmla="*/ 233 w 468"/>
              <a:gd name="T103" fmla="*/ 85 h 468"/>
              <a:gd name="T104" fmla="*/ 144 w 468"/>
              <a:gd name="T105" fmla="*/ 115 h 468"/>
              <a:gd name="T106" fmla="*/ 91 w 468"/>
              <a:gd name="T107" fmla="*/ 162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68" h="468">
                <a:moveTo>
                  <a:pt x="69" y="68"/>
                </a:moveTo>
                <a:cubicBezTo>
                  <a:pt x="65" y="72"/>
                  <a:pt x="65" y="79"/>
                  <a:pt x="70" y="83"/>
                </a:cubicBezTo>
                <a:cubicBezTo>
                  <a:pt x="74" y="87"/>
                  <a:pt x="74" y="87"/>
                  <a:pt x="74" y="87"/>
                </a:cubicBezTo>
                <a:cubicBezTo>
                  <a:pt x="81" y="92"/>
                  <a:pt x="83" y="101"/>
                  <a:pt x="79" y="108"/>
                </a:cubicBezTo>
                <a:cubicBezTo>
                  <a:pt x="73" y="117"/>
                  <a:pt x="61" y="119"/>
                  <a:pt x="53" y="113"/>
                </a:cubicBezTo>
                <a:cubicBezTo>
                  <a:pt x="50" y="110"/>
                  <a:pt x="50" y="110"/>
                  <a:pt x="50" y="110"/>
                </a:cubicBezTo>
                <a:cubicBezTo>
                  <a:pt x="45" y="106"/>
                  <a:pt x="37" y="107"/>
                  <a:pt x="34" y="113"/>
                </a:cubicBezTo>
                <a:cubicBezTo>
                  <a:pt x="32" y="115"/>
                  <a:pt x="31" y="118"/>
                  <a:pt x="29" y="121"/>
                </a:cubicBezTo>
                <a:cubicBezTo>
                  <a:pt x="26" y="126"/>
                  <a:pt x="29" y="133"/>
                  <a:pt x="34" y="136"/>
                </a:cubicBezTo>
                <a:cubicBezTo>
                  <a:pt x="39" y="138"/>
                  <a:pt x="39" y="138"/>
                  <a:pt x="39" y="138"/>
                </a:cubicBezTo>
                <a:cubicBezTo>
                  <a:pt x="47" y="141"/>
                  <a:pt x="51" y="149"/>
                  <a:pt x="49" y="157"/>
                </a:cubicBezTo>
                <a:cubicBezTo>
                  <a:pt x="47" y="167"/>
                  <a:pt x="36" y="173"/>
                  <a:pt x="26" y="169"/>
                </a:cubicBezTo>
                <a:cubicBezTo>
                  <a:pt x="22" y="167"/>
                  <a:pt x="22" y="167"/>
                  <a:pt x="22" y="167"/>
                </a:cubicBezTo>
                <a:cubicBezTo>
                  <a:pt x="16" y="164"/>
                  <a:pt x="10" y="168"/>
                  <a:pt x="8" y="174"/>
                </a:cubicBezTo>
                <a:cubicBezTo>
                  <a:pt x="7" y="177"/>
                  <a:pt x="6" y="180"/>
                  <a:pt x="6" y="183"/>
                </a:cubicBezTo>
                <a:cubicBezTo>
                  <a:pt x="4" y="189"/>
                  <a:pt x="8" y="195"/>
                  <a:pt x="15" y="196"/>
                </a:cubicBezTo>
                <a:cubicBezTo>
                  <a:pt x="20" y="196"/>
                  <a:pt x="20" y="196"/>
                  <a:pt x="20" y="196"/>
                </a:cubicBezTo>
                <a:cubicBezTo>
                  <a:pt x="30" y="198"/>
                  <a:pt x="36" y="206"/>
                  <a:pt x="35" y="215"/>
                </a:cubicBezTo>
                <a:cubicBezTo>
                  <a:pt x="41" y="222"/>
                  <a:pt x="36" y="232"/>
                  <a:pt x="27" y="231"/>
                </a:cubicBezTo>
                <a:cubicBezTo>
                  <a:pt x="12" y="229"/>
                  <a:pt x="12" y="229"/>
                  <a:pt x="12" y="229"/>
                </a:cubicBezTo>
                <a:cubicBezTo>
                  <a:pt x="6" y="229"/>
                  <a:pt x="0" y="234"/>
                  <a:pt x="0" y="240"/>
                </a:cubicBezTo>
                <a:cubicBezTo>
                  <a:pt x="0" y="243"/>
                  <a:pt x="0" y="246"/>
                  <a:pt x="1" y="249"/>
                </a:cubicBezTo>
                <a:cubicBezTo>
                  <a:pt x="1" y="256"/>
                  <a:pt x="7" y="260"/>
                  <a:pt x="13" y="259"/>
                </a:cubicBezTo>
                <a:cubicBezTo>
                  <a:pt x="18" y="258"/>
                  <a:pt x="18" y="258"/>
                  <a:pt x="18" y="258"/>
                </a:cubicBezTo>
                <a:cubicBezTo>
                  <a:pt x="28" y="257"/>
                  <a:pt x="36" y="263"/>
                  <a:pt x="38" y="272"/>
                </a:cubicBezTo>
                <a:cubicBezTo>
                  <a:pt x="39" y="281"/>
                  <a:pt x="33" y="290"/>
                  <a:pt x="24" y="291"/>
                </a:cubicBezTo>
                <a:cubicBezTo>
                  <a:pt x="20" y="292"/>
                  <a:pt x="20" y="292"/>
                  <a:pt x="20" y="292"/>
                </a:cubicBezTo>
                <a:cubicBezTo>
                  <a:pt x="13" y="293"/>
                  <a:pt x="9" y="300"/>
                  <a:pt x="11" y="306"/>
                </a:cubicBezTo>
                <a:cubicBezTo>
                  <a:pt x="12" y="309"/>
                  <a:pt x="13" y="312"/>
                  <a:pt x="14" y="315"/>
                </a:cubicBezTo>
                <a:cubicBezTo>
                  <a:pt x="16" y="320"/>
                  <a:pt x="23" y="323"/>
                  <a:pt x="29" y="320"/>
                </a:cubicBezTo>
                <a:cubicBezTo>
                  <a:pt x="34" y="318"/>
                  <a:pt x="34" y="318"/>
                  <a:pt x="34" y="318"/>
                </a:cubicBezTo>
                <a:cubicBezTo>
                  <a:pt x="42" y="314"/>
                  <a:pt x="52" y="317"/>
                  <a:pt x="56" y="326"/>
                </a:cubicBezTo>
                <a:cubicBezTo>
                  <a:pt x="56" y="326"/>
                  <a:pt x="56" y="326"/>
                  <a:pt x="56" y="326"/>
                </a:cubicBezTo>
                <a:cubicBezTo>
                  <a:pt x="61" y="334"/>
                  <a:pt x="57" y="344"/>
                  <a:pt x="49" y="348"/>
                </a:cubicBezTo>
                <a:cubicBezTo>
                  <a:pt x="45" y="350"/>
                  <a:pt x="45" y="350"/>
                  <a:pt x="45" y="350"/>
                </a:cubicBezTo>
                <a:cubicBezTo>
                  <a:pt x="39" y="353"/>
                  <a:pt x="37" y="360"/>
                  <a:pt x="40" y="366"/>
                </a:cubicBezTo>
                <a:cubicBezTo>
                  <a:pt x="42" y="368"/>
                  <a:pt x="44" y="371"/>
                  <a:pt x="46" y="373"/>
                </a:cubicBezTo>
                <a:cubicBezTo>
                  <a:pt x="50" y="378"/>
                  <a:pt x="57" y="379"/>
                  <a:pt x="62" y="375"/>
                </a:cubicBezTo>
                <a:cubicBezTo>
                  <a:pt x="66" y="371"/>
                  <a:pt x="66" y="371"/>
                  <a:pt x="66" y="371"/>
                </a:cubicBezTo>
                <a:cubicBezTo>
                  <a:pt x="73" y="365"/>
                  <a:pt x="83" y="365"/>
                  <a:pt x="89" y="372"/>
                </a:cubicBezTo>
                <a:cubicBezTo>
                  <a:pt x="89" y="372"/>
                  <a:pt x="89" y="372"/>
                  <a:pt x="89" y="372"/>
                </a:cubicBezTo>
                <a:cubicBezTo>
                  <a:pt x="96" y="379"/>
                  <a:pt x="95" y="389"/>
                  <a:pt x="88" y="396"/>
                </a:cubicBezTo>
                <a:cubicBezTo>
                  <a:pt x="85" y="399"/>
                  <a:pt x="85" y="399"/>
                  <a:pt x="85" y="399"/>
                </a:cubicBezTo>
                <a:cubicBezTo>
                  <a:pt x="80" y="403"/>
                  <a:pt x="80" y="411"/>
                  <a:pt x="85" y="415"/>
                </a:cubicBezTo>
                <a:cubicBezTo>
                  <a:pt x="88" y="417"/>
                  <a:pt x="90" y="419"/>
                  <a:pt x="93" y="421"/>
                </a:cubicBezTo>
                <a:cubicBezTo>
                  <a:pt x="98" y="424"/>
                  <a:pt x="105" y="423"/>
                  <a:pt x="108" y="418"/>
                </a:cubicBezTo>
                <a:cubicBezTo>
                  <a:pt x="111" y="413"/>
                  <a:pt x="111" y="413"/>
                  <a:pt x="111" y="413"/>
                </a:cubicBezTo>
                <a:cubicBezTo>
                  <a:pt x="115" y="406"/>
                  <a:pt x="124" y="403"/>
                  <a:pt x="132" y="406"/>
                </a:cubicBezTo>
                <a:cubicBezTo>
                  <a:pt x="141" y="410"/>
                  <a:pt x="145" y="421"/>
                  <a:pt x="140" y="430"/>
                </a:cubicBezTo>
                <a:cubicBezTo>
                  <a:pt x="137" y="434"/>
                  <a:pt x="137" y="434"/>
                  <a:pt x="137" y="434"/>
                </a:cubicBezTo>
                <a:cubicBezTo>
                  <a:pt x="134" y="440"/>
                  <a:pt x="136" y="447"/>
                  <a:pt x="142" y="449"/>
                </a:cubicBezTo>
                <a:cubicBezTo>
                  <a:pt x="145" y="451"/>
                  <a:pt x="148" y="452"/>
                  <a:pt x="151" y="453"/>
                </a:cubicBezTo>
                <a:cubicBezTo>
                  <a:pt x="157" y="455"/>
                  <a:pt x="163" y="452"/>
                  <a:pt x="165" y="446"/>
                </a:cubicBezTo>
                <a:cubicBezTo>
                  <a:pt x="166" y="440"/>
                  <a:pt x="166" y="440"/>
                  <a:pt x="166" y="440"/>
                </a:cubicBezTo>
                <a:cubicBezTo>
                  <a:pt x="169" y="431"/>
                  <a:pt x="178" y="426"/>
                  <a:pt x="187" y="428"/>
                </a:cubicBezTo>
                <a:cubicBezTo>
                  <a:pt x="187" y="428"/>
                  <a:pt x="187" y="428"/>
                  <a:pt x="187" y="428"/>
                </a:cubicBezTo>
                <a:cubicBezTo>
                  <a:pt x="196" y="431"/>
                  <a:pt x="201" y="440"/>
                  <a:pt x="199" y="449"/>
                </a:cubicBezTo>
                <a:cubicBezTo>
                  <a:pt x="198" y="453"/>
                  <a:pt x="198" y="453"/>
                  <a:pt x="198" y="453"/>
                </a:cubicBezTo>
                <a:cubicBezTo>
                  <a:pt x="196" y="459"/>
                  <a:pt x="200" y="466"/>
                  <a:pt x="207" y="466"/>
                </a:cubicBezTo>
                <a:cubicBezTo>
                  <a:pt x="210" y="467"/>
                  <a:pt x="213" y="467"/>
                  <a:pt x="216" y="467"/>
                </a:cubicBezTo>
                <a:cubicBezTo>
                  <a:pt x="222" y="468"/>
                  <a:pt x="228" y="463"/>
                  <a:pt x="227" y="456"/>
                </a:cubicBezTo>
                <a:cubicBezTo>
                  <a:pt x="227" y="451"/>
                  <a:pt x="227" y="451"/>
                  <a:pt x="227" y="451"/>
                </a:cubicBezTo>
                <a:cubicBezTo>
                  <a:pt x="227" y="442"/>
                  <a:pt x="234" y="434"/>
                  <a:pt x="244" y="434"/>
                </a:cubicBezTo>
                <a:cubicBezTo>
                  <a:pt x="253" y="433"/>
                  <a:pt x="261" y="441"/>
                  <a:pt x="261" y="450"/>
                </a:cubicBezTo>
                <a:cubicBezTo>
                  <a:pt x="261" y="455"/>
                  <a:pt x="261" y="455"/>
                  <a:pt x="261" y="455"/>
                </a:cubicBezTo>
                <a:cubicBezTo>
                  <a:pt x="261" y="461"/>
                  <a:pt x="267" y="466"/>
                  <a:pt x="273" y="465"/>
                </a:cubicBezTo>
                <a:cubicBezTo>
                  <a:pt x="276" y="464"/>
                  <a:pt x="279" y="464"/>
                  <a:pt x="282" y="463"/>
                </a:cubicBezTo>
                <a:cubicBezTo>
                  <a:pt x="289" y="462"/>
                  <a:pt x="292" y="455"/>
                  <a:pt x="290" y="449"/>
                </a:cubicBezTo>
                <a:cubicBezTo>
                  <a:pt x="289" y="444"/>
                  <a:pt x="289" y="444"/>
                  <a:pt x="289" y="444"/>
                </a:cubicBezTo>
                <a:cubicBezTo>
                  <a:pt x="286" y="435"/>
                  <a:pt x="291" y="426"/>
                  <a:pt x="299" y="423"/>
                </a:cubicBezTo>
                <a:cubicBezTo>
                  <a:pt x="299" y="423"/>
                  <a:pt x="299" y="423"/>
                  <a:pt x="299" y="423"/>
                </a:cubicBezTo>
                <a:cubicBezTo>
                  <a:pt x="308" y="420"/>
                  <a:pt x="318" y="425"/>
                  <a:pt x="321" y="434"/>
                </a:cubicBezTo>
                <a:cubicBezTo>
                  <a:pt x="322" y="438"/>
                  <a:pt x="322" y="438"/>
                  <a:pt x="322" y="438"/>
                </a:cubicBezTo>
                <a:cubicBezTo>
                  <a:pt x="324" y="444"/>
                  <a:pt x="331" y="447"/>
                  <a:pt x="337" y="444"/>
                </a:cubicBezTo>
                <a:cubicBezTo>
                  <a:pt x="339" y="443"/>
                  <a:pt x="342" y="441"/>
                  <a:pt x="345" y="440"/>
                </a:cubicBezTo>
                <a:cubicBezTo>
                  <a:pt x="351" y="437"/>
                  <a:pt x="352" y="430"/>
                  <a:pt x="349" y="425"/>
                </a:cubicBezTo>
                <a:cubicBezTo>
                  <a:pt x="346" y="420"/>
                  <a:pt x="346" y="420"/>
                  <a:pt x="346" y="420"/>
                </a:cubicBezTo>
                <a:cubicBezTo>
                  <a:pt x="340" y="412"/>
                  <a:pt x="342" y="402"/>
                  <a:pt x="350" y="397"/>
                </a:cubicBezTo>
                <a:cubicBezTo>
                  <a:pt x="358" y="391"/>
                  <a:pt x="368" y="393"/>
                  <a:pt x="373" y="401"/>
                </a:cubicBezTo>
                <a:cubicBezTo>
                  <a:pt x="376" y="405"/>
                  <a:pt x="376" y="405"/>
                  <a:pt x="376" y="405"/>
                </a:cubicBezTo>
                <a:cubicBezTo>
                  <a:pt x="379" y="410"/>
                  <a:pt x="387" y="411"/>
                  <a:pt x="392" y="407"/>
                </a:cubicBezTo>
                <a:cubicBezTo>
                  <a:pt x="392" y="407"/>
                  <a:pt x="392" y="407"/>
                  <a:pt x="392" y="407"/>
                </a:cubicBezTo>
                <a:cubicBezTo>
                  <a:pt x="394" y="405"/>
                  <a:pt x="396" y="402"/>
                  <a:pt x="399" y="400"/>
                </a:cubicBezTo>
                <a:cubicBezTo>
                  <a:pt x="403" y="396"/>
                  <a:pt x="403" y="389"/>
                  <a:pt x="398" y="385"/>
                </a:cubicBezTo>
                <a:cubicBezTo>
                  <a:pt x="393" y="381"/>
                  <a:pt x="393" y="381"/>
                  <a:pt x="393" y="381"/>
                </a:cubicBezTo>
                <a:cubicBezTo>
                  <a:pt x="386" y="375"/>
                  <a:pt x="385" y="365"/>
                  <a:pt x="391" y="357"/>
                </a:cubicBezTo>
                <a:cubicBezTo>
                  <a:pt x="397" y="350"/>
                  <a:pt x="408" y="349"/>
                  <a:pt x="415" y="355"/>
                </a:cubicBezTo>
                <a:cubicBezTo>
                  <a:pt x="418" y="358"/>
                  <a:pt x="418" y="358"/>
                  <a:pt x="418" y="358"/>
                </a:cubicBezTo>
                <a:cubicBezTo>
                  <a:pt x="423" y="362"/>
                  <a:pt x="431" y="361"/>
                  <a:pt x="434" y="355"/>
                </a:cubicBezTo>
                <a:cubicBezTo>
                  <a:pt x="436" y="353"/>
                  <a:pt x="437" y="350"/>
                  <a:pt x="439" y="347"/>
                </a:cubicBezTo>
                <a:cubicBezTo>
                  <a:pt x="442" y="342"/>
                  <a:pt x="439" y="335"/>
                  <a:pt x="434" y="332"/>
                </a:cubicBezTo>
                <a:cubicBezTo>
                  <a:pt x="428" y="330"/>
                  <a:pt x="428" y="330"/>
                  <a:pt x="428" y="330"/>
                </a:cubicBezTo>
                <a:cubicBezTo>
                  <a:pt x="420" y="327"/>
                  <a:pt x="416" y="317"/>
                  <a:pt x="420" y="308"/>
                </a:cubicBezTo>
                <a:cubicBezTo>
                  <a:pt x="423" y="300"/>
                  <a:pt x="433" y="296"/>
                  <a:pt x="442" y="299"/>
                </a:cubicBezTo>
                <a:cubicBezTo>
                  <a:pt x="446" y="301"/>
                  <a:pt x="446" y="301"/>
                  <a:pt x="446" y="301"/>
                </a:cubicBezTo>
                <a:cubicBezTo>
                  <a:pt x="452" y="304"/>
                  <a:pt x="458" y="300"/>
                  <a:pt x="460" y="294"/>
                </a:cubicBezTo>
                <a:cubicBezTo>
                  <a:pt x="461" y="291"/>
                  <a:pt x="462" y="288"/>
                  <a:pt x="462" y="285"/>
                </a:cubicBezTo>
                <a:cubicBezTo>
                  <a:pt x="464" y="279"/>
                  <a:pt x="459" y="273"/>
                  <a:pt x="453" y="272"/>
                </a:cubicBezTo>
                <a:cubicBezTo>
                  <a:pt x="448" y="272"/>
                  <a:pt x="448" y="272"/>
                  <a:pt x="448" y="272"/>
                </a:cubicBezTo>
                <a:cubicBezTo>
                  <a:pt x="438" y="270"/>
                  <a:pt x="432" y="262"/>
                  <a:pt x="433" y="253"/>
                </a:cubicBezTo>
                <a:cubicBezTo>
                  <a:pt x="427" y="246"/>
                  <a:pt x="432" y="236"/>
                  <a:pt x="441" y="237"/>
                </a:cubicBezTo>
                <a:cubicBezTo>
                  <a:pt x="456" y="239"/>
                  <a:pt x="456" y="239"/>
                  <a:pt x="456" y="239"/>
                </a:cubicBezTo>
                <a:cubicBezTo>
                  <a:pt x="462" y="239"/>
                  <a:pt x="468" y="234"/>
                  <a:pt x="468" y="228"/>
                </a:cubicBezTo>
                <a:cubicBezTo>
                  <a:pt x="468" y="225"/>
                  <a:pt x="468" y="222"/>
                  <a:pt x="467" y="219"/>
                </a:cubicBezTo>
                <a:cubicBezTo>
                  <a:pt x="467" y="212"/>
                  <a:pt x="461" y="208"/>
                  <a:pt x="455" y="209"/>
                </a:cubicBezTo>
                <a:cubicBezTo>
                  <a:pt x="450" y="210"/>
                  <a:pt x="450" y="210"/>
                  <a:pt x="450" y="210"/>
                </a:cubicBezTo>
                <a:cubicBezTo>
                  <a:pt x="442" y="211"/>
                  <a:pt x="434" y="207"/>
                  <a:pt x="431" y="199"/>
                </a:cubicBezTo>
                <a:cubicBezTo>
                  <a:pt x="427" y="189"/>
                  <a:pt x="434" y="178"/>
                  <a:pt x="444" y="177"/>
                </a:cubicBezTo>
                <a:cubicBezTo>
                  <a:pt x="448" y="176"/>
                  <a:pt x="448" y="176"/>
                  <a:pt x="448" y="176"/>
                </a:cubicBezTo>
                <a:cubicBezTo>
                  <a:pt x="455" y="175"/>
                  <a:pt x="459" y="168"/>
                  <a:pt x="457" y="162"/>
                </a:cubicBezTo>
                <a:cubicBezTo>
                  <a:pt x="456" y="159"/>
                  <a:pt x="455" y="156"/>
                  <a:pt x="454" y="153"/>
                </a:cubicBezTo>
                <a:cubicBezTo>
                  <a:pt x="452" y="148"/>
                  <a:pt x="445" y="145"/>
                  <a:pt x="439" y="148"/>
                </a:cubicBezTo>
                <a:cubicBezTo>
                  <a:pt x="434" y="150"/>
                  <a:pt x="434" y="150"/>
                  <a:pt x="434" y="150"/>
                </a:cubicBezTo>
                <a:cubicBezTo>
                  <a:pt x="427" y="153"/>
                  <a:pt x="418" y="152"/>
                  <a:pt x="413" y="145"/>
                </a:cubicBezTo>
                <a:cubicBezTo>
                  <a:pt x="407" y="136"/>
                  <a:pt x="410" y="124"/>
                  <a:pt x="419" y="120"/>
                </a:cubicBezTo>
                <a:cubicBezTo>
                  <a:pt x="423" y="118"/>
                  <a:pt x="423" y="118"/>
                  <a:pt x="423" y="118"/>
                </a:cubicBezTo>
                <a:cubicBezTo>
                  <a:pt x="429" y="115"/>
                  <a:pt x="431" y="108"/>
                  <a:pt x="427" y="102"/>
                </a:cubicBezTo>
                <a:cubicBezTo>
                  <a:pt x="426" y="100"/>
                  <a:pt x="424" y="97"/>
                  <a:pt x="422" y="95"/>
                </a:cubicBezTo>
                <a:cubicBezTo>
                  <a:pt x="418" y="90"/>
                  <a:pt x="411" y="89"/>
                  <a:pt x="406" y="93"/>
                </a:cubicBezTo>
                <a:cubicBezTo>
                  <a:pt x="402" y="97"/>
                  <a:pt x="402" y="97"/>
                  <a:pt x="402" y="97"/>
                </a:cubicBezTo>
                <a:cubicBezTo>
                  <a:pt x="395" y="103"/>
                  <a:pt x="385" y="103"/>
                  <a:pt x="379" y="96"/>
                </a:cubicBezTo>
                <a:cubicBezTo>
                  <a:pt x="372" y="89"/>
                  <a:pt x="373" y="79"/>
                  <a:pt x="380" y="72"/>
                </a:cubicBezTo>
                <a:cubicBezTo>
                  <a:pt x="383" y="69"/>
                  <a:pt x="383" y="69"/>
                  <a:pt x="383" y="69"/>
                </a:cubicBezTo>
                <a:cubicBezTo>
                  <a:pt x="388" y="65"/>
                  <a:pt x="388" y="57"/>
                  <a:pt x="383" y="53"/>
                </a:cubicBezTo>
                <a:cubicBezTo>
                  <a:pt x="380" y="51"/>
                  <a:pt x="378" y="49"/>
                  <a:pt x="375" y="47"/>
                </a:cubicBezTo>
                <a:cubicBezTo>
                  <a:pt x="370" y="44"/>
                  <a:pt x="363" y="45"/>
                  <a:pt x="360" y="50"/>
                </a:cubicBezTo>
                <a:cubicBezTo>
                  <a:pt x="357" y="55"/>
                  <a:pt x="357" y="55"/>
                  <a:pt x="357" y="55"/>
                </a:cubicBezTo>
                <a:cubicBezTo>
                  <a:pt x="353" y="62"/>
                  <a:pt x="344" y="65"/>
                  <a:pt x="336" y="62"/>
                </a:cubicBezTo>
                <a:cubicBezTo>
                  <a:pt x="326" y="58"/>
                  <a:pt x="323" y="47"/>
                  <a:pt x="328" y="38"/>
                </a:cubicBezTo>
                <a:cubicBezTo>
                  <a:pt x="331" y="34"/>
                  <a:pt x="331" y="34"/>
                  <a:pt x="331" y="34"/>
                </a:cubicBezTo>
                <a:cubicBezTo>
                  <a:pt x="334" y="28"/>
                  <a:pt x="332" y="21"/>
                  <a:pt x="326" y="19"/>
                </a:cubicBezTo>
                <a:cubicBezTo>
                  <a:pt x="323" y="17"/>
                  <a:pt x="320" y="16"/>
                  <a:pt x="317" y="15"/>
                </a:cubicBezTo>
                <a:cubicBezTo>
                  <a:pt x="311" y="13"/>
                  <a:pt x="305" y="16"/>
                  <a:pt x="303" y="22"/>
                </a:cubicBezTo>
                <a:cubicBezTo>
                  <a:pt x="302" y="27"/>
                  <a:pt x="302" y="27"/>
                  <a:pt x="302" y="27"/>
                </a:cubicBezTo>
                <a:cubicBezTo>
                  <a:pt x="300" y="35"/>
                  <a:pt x="292" y="41"/>
                  <a:pt x="284" y="40"/>
                </a:cubicBezTo>
                <a:cubicBezTo>
                  <a:pt x="273" y="39"/>
                  <a:pt x="266" y="29"/>
                  <a:pt x="269" y="19"/>
                </a:cubicBezTo>
                <a:cubicBezTo>
                  <a:pt x="270" y="15"/>
                  <a:pt x="270" y="15"/>
                  <a:pt x="270" y="15"/>
                </a:cubicBezTo>
                <a:cubicBezTo>
                  <a:pt x="272" y="9"/>
                  <a:pt x="268" y="2"/>
                  <a:pt x="261" y="2"/>
                </a:cubicBezTo>
                <a:cubicBezTo>
                  <a:pt x="258" y="1"/>
                  <a:pt x="255" y="1"/>
                  <a:pt x="252" y="1"/>
                </a:cubicBezTo>
                <a:cubicBezTo>
                  <a:pt x="246" y="0"/>
                  <a:pt x="240" y="5"/>
                  <a:pt x="241" y="12"/>
                </a:cubicBezTo>
                <a:cubicBezTo>
                  <a:pt x="241" y="17"/>
                  <a:pt x="241" y="17"/>
                  <a:pt x="241" y="17"/>
                </a:cubicBezTo>
                <a:cubicBezTo>
                  <a:pt x="241" y="25"/>
                  <a:pt x="235" y="33"/>
                  <a:pt x="227" y="34"/>
                </a:cubicBezTo>
                <a:cubicBezTo>
                  <a:pt x="217" y="36"/>
                  <a:pt x="207" y="28"/>
                  <a:pt x="207" y="18"/>
                </a:cubicBezTo>
                <a:cubicBezTo>
                  <a:pt x="207" y="13"/>
                  <a:pt x="207" y="13"/>
                  <a:pt x="207" y="13"/>
                </a:cubicBezTo>
                <a:cubicBezTo>
                  <a:pt x="207" y="7"/>
                  <a:pt x="201" y="2"/>
                  <a:pt x="195" y="3"/>
                </a:cubicBezTo>
                <a:cubicBezTo>
                  <a:pt x="192" y="4"/>
                  <a:pt x="189" y="4"/>
                  <a:pt x="185" y="5"/>
                </a:cubicBezTo>
                <a:cubicBezTo>
                  <a:pt x="179" y="6"/>
                  <a:pt x="176" y="13"/>
                  <a:pt x="178" y="19"/>
                </a:cubicBezTo>
                <a:cubicBezTo>
                  <a:pt x="179" y="24"/>
                  <a:pt x="179" y="24"/>
                  <a:pt x="179" y="24"/>
                </a:cubicBezTo>
                <a:cubicBezTo>
                  <a:pt x="182" y="33"/>
                  <a:pt x="177" y="42"/>
                  <a:pt x="169" y="45"/>
                </a:cubicBezTo>
                <a:cubicBezTo>
                  <a:pt x="162" y="51"/>
                  <a:pt x="152" y="48"/>
                  <a:pt x="149" y="40"/>
                </a:cubicBezTo>
                <a:cubicBezTo>
                  <a:pt x="146" y="30"/>
                  <a:pt x="146" y="30"/>
                  <a:pt x="146" y="30"/>
                </a:cubicBezTo>
                <a:cubicBezTo>
                  <a:pt x="144" y="24"/>
                  <a:pt x="137" y="21"/>
                  <a:pt x="131" y="24"/>
                </a:cubicBezTo>
                <a:cubicBezTo>
                  <a:pt x="129" y="25"/>
                  <a:pt x="126" y="27"/>
                  <a:pt x="123" y="28"/>
                </a:cubicBezTo>
                <a:cubicBezTo>
                  <a:pt x="117" y="31"/>
                  <a:pt x="116" y="38"/>
                  <a:pt x="119" y="43"/>
                </a:cubicBezTo>
                <a:cubicBezTo>
                  <a:pt x="122" y="48"/>
                  <a:pt x="122" y="48"/>
                  <a:pt x="122" y="48"/>
                </a:cubicBezTo>
                <a:cubicBezTo>
                  <a:pt x="128" y="56"/>
                  <a:pt x="125" y="68"/>
                  <a:pt x="115" y="73"/>
                </a:cubicBezTo>
                <a:cubicBezTo>
                  <a:pt x="108" y="76"/>
                  <a:pt x="99" y="73"/>
                  <a:pt x="94" y="66"/>
                </a:cubicBezTo>
                <a:cubicBezTo>
                  <a:pt x="92" y="63"/>
                  <a:pt x="92" y="63"/>
                  <a:pt x="92" y="63"/>
                </a:cubicBezTo>
                <a:cubicBezTo>
                  <a:pt x="88" y="58"/>
                  <a:pt x="81" y="57"/>
                  <a:pt x="76" y="61"/>
                </a:cubicBezTo>
                <a:cubicBezTo>
                  <a:pt x="76" y="61"/>
                  <a:pt x="76" y="61"/>
                  <a:pt x="76" y="61"/>
                </a:cubicBezTo>
                <a:cubicBezTo>
                  <a:pt x="74" y="63"/>
                  <a:pt x="72" y="66"/>
                  <a:pt x="69" y="68"/>
                </a:cubicBezTo>
                <a:close/>
                <a:moveTo>
                  <a:pt x="85" y="175"/>
                </a:moveTo>
                <a:cubicBezTo>
                  <a:pt x="95" y="179"/>
                  <a:pt x="95" y="179"/>
                  <a:pt x="95" y="179"/>
                </a:cubicBezTo>
                <a:cubicBezTo>
                  <a:pt x="91" y="191"/>
                  <a:pt x="88" y="202"/>
                  <a:pt x="86" y="214"/>
                </a:cubicBezTo>
                <a:cubicBezTo>
                  <a:pt x="99" y="215"/>
                  <a:pt x="99" y="215"/>
                  <a:pt x="99" y="215"/>
                </a:cubicBezTo>
                <a:cubicBezTo>
                  <a:pt x="98" y="222"/>
                  <a:pt x="98" y="229"/>
                  <a:pt x="98" y="235"/>
                </a:cubicBezTo>
                <a:cubicBezTo>
                  <a:pt x="85" y="235"/>
                  <a:pt x="85" y="235"/>
                  <a:pt x="85" y="235"/>
                </a:cubicBezTo>
                <a:cubicBezTo>
                  <a:pt x="85" y="250"/>
                  <a:pt x="87" y="265"/>
                  <a:pt x="92" y="280"/>
                </a:cubicBezTo>
                <a:cubicBezTo>
                  <a:pt x="82" y="284"/>
                  <a:pt x="82" y="284"/>
                  <a:pt x="82" y="284"/>
                </a:cubicBezTo>
                <a:cubicBezTo>
                  <a:pt x="70" y="248"/>
                  <a:pt x="71" y="210"/>
                  <a:pt x="85" y="175"/>
                </a:cubicBezTo>
                <a:close/>
                <a:moveTo>
                  <a:pt x="149" y="141"/>
                </a:moveTo>
                <a:cubicBezTo>
                  <a:pt x="153" y="138"/>
                  <a:pt x="157" y="135"/>
                  <a:pt x="160" y="133"/>
                </a:cubicBezTo>
                <a:cubicBezTo>
                  <a:pt x="178" y="152"/>
                  <a:pt x="178" y="152"/>
                  <a:pt x="178" y="152"/>
                </a:cubicBezTo>
                <a:cubicBezTo>
                  <a:pt x="183" y="149"/>
                  <a:pt x="188" y="147"/>
                  <a:pt x="192" y="145"/>
                </a:cubicBezTo>
                <a:cubicBezTo>
                  <a:pt x="197" y="156"/>
                  <a:pt x="197" y="156"/>
                  <a:pt x="197" y="156"/>
                </a:cubicBezTo>
                <a:cubicBezTo>
                  <a:pt x="189" y="159"/>
                  <a:pt x="182" y="164"/>
                  <a:pt x="176" y="170"/>
                </a:cubicBezTo>
                <a:cubicBezTo>
                  <a:pt x="168" y="177"/>
                  <a:pt x="163" y="184"/>
                  <a:pt x="158" y="192"/>
                </a:cubicBezTo>
                <a:cubicBezTo>
                  <a:pt x="147" y="187"/>
                  <a:pt x="147" y="187"/>
                  <a:pt x="147" y="187"/>
                </a:cubicBezTo>
                <a:cubicBezTo>
                  <a:pt x="151" y="179"/>
                  <a:pt x="157" y="172"/>
                  <a:pt x="163" y="166"/>
                </a:cubicBezTo>
                <a:cubicBezTo>
                  <a:pt x="145" y="146"/>
                  <a:pt x="145" y="146"/>
                  <a:pt x="145" y="146"/>
                </a:cubicBezTo>
                <a:cubicBezTo>
                  <a:pt x="146" y="144"/>
                  <a:pt x="148" y="143"/>
                  <a:pt x="149" y="141"/>
                </a:cubicBezTo>
                <a:close/>
                <a:moveTo>
                  <a:pt x="232" y="109"/>
                </a:moveTo>
                <a:cubicBezTo>
                  <a:pt x="239" y="109"/>
                  <a:pt x="246" y="109"/>
                  <a:pt x="252" y="110"/>
                </a:cubicBezTo>
                <a:cubicBezTo>
                  <a:pt x="251" y="137"/>
                  <a:pt x="251" y="137"/>
                  <a:pt x="251" y="137"/>
                </a:cubicBezTo>
                <a:cubicBezTo>
                  <a:pt x="257" y="138"/>
                  <a:pt x="262" y="139"/>
                  <a:pt x="268" y="141"/>
                </a:cubicBezTo>
                <a:cubicBezTo>
                  <a:pt x="263" y="152"/>
                  <a:pt x="263" y="152"/>
                  <a:pt x="263" y="152"/>
                </a:cubicBezTo>
                <a:cubicBezTo>
                  <a:pt x="246" y="146"/>
                  <a:pt x="227" y="146"/>
                  <a:pt x="210" y="151"/>
                </a:cubicBezTo>
                <a:cubicBezTo>
                  <a:pt x="206" y="139"/>
                  <a:pt x="206" y="139"/>
                  <a:pt x="206" y="139"/>
                </a:cubicBezTo>
                <a:cubicBezTo>
                  <a:pt x="214" y="137"/>
                  <a:pt x="222" y="136"/>
                  <a:pt x="231" y="135"/>
                </a:cubicBezTo>
                <a:lnTo>
                  <a:pt x="232" y="109"/>
                </a:lnTo>
                <a:close/>
                <a:moveTo>
                  <a:pt x="323" y="192"/>
                </a:moveTo>
                <a:cubicBezTo>
                  <a:pt x="312" y="197"/>
                  <a:pt x="312" y="197"/>
                  <a:pt x="312" y="197"/>
                </a:cubicBezTo>
                <a:cubicBezTo>
                  <a:pt x="309" y="189"/>
                  <a:pt x="304" y="182"/>
                  <a:pt x="298" y="176"/>
                </a:cubicBezTo>
                <a:cubicBezTo>
                  <a:pt x="291" y="168"/>
                  <a:pt x="284" y="163"/>
                  <a:pt x="276" y="158"/>
                </a:cubicBezTo>
                <a:cubicBezTo>
                  <a:pt x="281" y="147"/>
                  <a:pt x="281" y="147"/>
                  <a:pt x="281" y="147"/>
                </a:cubicBezTo>
                <a:cubicBezTo>
                  <a:pt x="288" y="151"/>
                  <a:pt x="294" y="155"/>
                  <a:pt x="300" y="160"/>
                </a:cubicBezTo>
                <a:cubicBezTo>
                  <a:pt x="319" y="142"/>
                  <a:pt x="319" y="142"/>
                  <a:pt x="319" y="142"/>
                </a:cubicBezTo>
                <a:cubicBezTo>
                  <a:pt x="322" y="145"/>
                  <a:pt x="324" y="147"/>
                  <a:pt x="327" y="149"/>
                </a:cubicBezTo>
                <a:cubicBezTo>
                  <a:pt x="329" y="152"/>
                  <a:pt x="331" y="155"/>
                  <a:pt x="333" y="157"/>
                </a:cubicBezTo>
                <a:cubicBezTo>
                  <a:pt x="313" y="175"/>
                  <a:pt x="313" y="175"/>
                  <a:pt x="313" y="175"/>
                </a:cubicBezTo>
                <a:cubicBezTo>
                  <a:pt x="317" y="181"/>
                  <a:pt x="321" y="186"/>
                  <a:pt x="323" y="192"/>
                </a:cubicBezTo>
                <a:close/>
                <a:moveTo>
                  <a:pt x="319" y="327"/>
                </a:moveTo>
                <a:cubicBezTo>
                  <a:pt x="317" y="328"/>
                  <a:pt x="315" y="329"/>
                  <a:pt x="314" y="331"/>
                </a:cubicBezTo>
                <a:cubicBezTo>
                  <a:pt x="296" y="311"/>
                  <a:pt x="296" y="311"/>
                  <a:pt x="296" y="311"/>
                </a:cubicBezTo>
                <a:cubicBezTo>
                  <a:pt x="289" y="316"/>
                  <a:pt x="283" y="320"/>
                  <a:pt x="276" y="323"/>
                </a:cubicBezTo>
                <a:cubicBezTo>
                  <a:pt x="271" y="312"/>
                  <a:pt x="271" y="312"/>
                  <a:pt x="271" y="312"/>
                </a:cubicBezTo>
                <a:cubicBezTo>
                  <a:pt x="279" y="309"/>
                  <a:pt x="286" y="304"/>
                  <a:pt x="292" y="298"/>
                </a:cubicBezTo>
                <a:cubicBezTo>
                  <a:pt x="300" y="291"/>
                  <a:pt x="305" y="284"/>
                  <a:pt x="310" y="276"/>
                </a:cubicBezTo>
                <a:cubicBezTo>
                  <a:pt x="321" y="281"/>
                  <a:pt x="321" y="281"/>
                  <a:pt x="321" y="281"/>
                </a:cubicBezTo>
                <a:cubicBezTo>
                  <a:pt x="318" y="286"/>
                  <a:pt x="314" y="292"/>
                  <a:pt x="310" y="297"/>
                </a:cubicBezTo>
                <a:cubicBezTo>
                  <a:pt x="328" y="317"/>
                  <a:pt x="328" y="317"/>
                  <a:pt x="328" y="317"/>
                </a:cubicBezTo>
                <a:cubicBezTo>
                  <a:pt x="325" y="320"/>
                  <a:pt x="322" y="323"/>
                  <a:pt x="319" y="327"/>
                </a:cubicBezTo>
                <a:close/>
                <a:moveTo>
                  <a:pt x="241" y="359"/>
                </a:moveTo>
                <a:cubicBezTo>
                  <a:pt x="234" y="359"/>
                  <a:pt x="228" y="359"/>
                  <a:pt x="221" y="359"/>
                </a:cubicBezTo>
                <a:cubicBezTo>
                  <a:pt x="222" y="332"/>
                  <a:pt x="222" y="332"/>
                  <a:pt x="222" y="332"/>
                </a:cubicBezTo>
                <a:cubicBezTo>
                  <a:pt x="215" y="331"/>
                  <a:pt x="207" y="329"/>
                  <a:pt x="200" y="327"/>
                </a:cubicBezTo>
                <a:cubicBezTo>
                  <a:pt x="205" y="316"/>
                  <a:pt x="205" y="316"/>
                  <a:pt x="205" y="316"/>
                </a:cubicBezTo>
                <a:cubicBezTo>
                  <a:pt x="222" y="322"/>
                  <a:pt x="241" y="322"/>
                  <a:pt x="258" y="317"/>
                </a:cubicBezTo>
                <a:cubicBezTo>
                  <a:pt x="262" y="329"/>
                  <a:pt x="262" y="329"/>
                  <a:pt x="262" y="329"/>
                </a:cubicBezTo>
                <a:cubicBezTo>
                  <a:pt x="256" y="330"/>
                  <a:pt x="249" y="332"/>
                  <a:pt x="242" y="332"/>
                </a:cubicBezTo>
                <a:lnTo>
                  <a:pt x="241" y="359"/>
                </a:lnTo>
                <a:close/>
                <a:moveTo>
                  <a:pt x="145" y="276"/>
                </a:moveTo>
                <a:cubicBezTo>
                  <a:pt x="156" y="271"/>
                  <a:pt x="156" y="271"/>
                  <a:pt x="156" y="271"/>
                </a:cubicBezTo>
                <a:cubicBezTo>
                  <a:pt x="159" y="279"/>
                  <a:pt x="164" y="286"/>
                  <a:pt x="170" y="292"/>
                </a:cubicBezTo>
                <a:cubicBezTo>
                  <a:pt x="177" y="300"/>
                  <a:pt x="184" y="305"/>
                  <a:pt x="192" y="310"/>
                </a:cubicBezTo>
                <a:cubicBezTo>
                  <a:pt x="187" y="321"/>
                  <a:pt x="187" y="321"/>
                  <a:pt x="187" y="321"/>
                </a:cubicBezTo>
                <a:cubicBezTo>
                  <a:pt x="180" y="317"/>
                  <a:pt x="174" y="313"/>
                  <a:pt x="168" y="308"/>
                </a:cubicBezTo>
                <a:cubicBezTo>
                  <a:pt x="149" y="326"/>
                  <a:pt x="149" y="326"/>
                  <a:pt x="149" y="326"/>
                </a:cubicBezTo>
                <a:cubicBezTo>
                  <a:pt x="146" y="323"/>
                  <a:pt x="144" y="321"/>
                  <a:pt x="141" y="319"/>
                </a:cubicBezTo>
                <a:cubicBezTo>
                  <a:pt x="139" y="316"/>
                  <a:pt x="137" y="313"/>
                  <a:pt x="135" y="311"/>
                </a:cubicBezTo>
                <a:cubicBezTo>
                  <a:pt x="155" y="293"/>
                  <a:pt x="155" y="293"/>
                  <a:pt x="155" y="293"/>
                </a:cubicBezTo>
                <a:cubicBezTo>
                  <a:pt x="151" y="287"/>
                  <a:pt x="147" y="282"/>
                  <a:pt x="145" y="276"/>
                </a:cubicBezTo>
                <a:close/>
                <a:moveTo>
                  <a:pt x="110" y="216"/>
                </a:moveTo>
                <a:cubicBezTo>
                  <a:pt x="137" y="217"/>
                  <a:pt x="137" y="217"/>
                  <a:pt x="137" y="217"/>
                </a:cubicBezTo>
                <a:cubicBezTo>
                  <a:pt x="138" y="211"/>
                  <a:pt x="139" y="206"/>
                  <a:pt x="141" y="200"/>
                </a:cubicBezTo>
                <a:cubicBezTo>
                  <a:pt x="152" y="205"/>
                  <a:pt x="152" y="205"/>
                  <a:pt x="152" y="205"/>
                </a:cubicBezTo>
                <a:cubicBezTo>
                  <a:pt x="146" y="222"/>
                  <a:pt x="146" y="241"/>
                  <a:pt x="151" y="258"/>
                </a:cubicBezTo>
                <a:cubicBezTo>
                  <a:pt x="139" y="262"/>
                  <a:pt x="139" y="262"/>
                  <a:pt x="139" y="262"/>
                </a:cubicBezTo>
                <a:cubicBezTo>
                  <a:pt x="137" y="254"/>
                  <a:pt x="136" y="246"/>
                  <a:pt x="135" y="237"/>
                </a:cubicBezTo>
                <a:cubicBezTo>
                  <a:pt x="109" y="236"/>
                  <a:pt x="109" y="236"/>
                  <a:pt x="109" y="236"/>
                </a:cubicBezTo>
                <a:cubicBezTo>
                  <a:pt x="109" y="229"/>
                  <a:pt x="109" y="222"/>
                  <a:pt x="110" y="216"/>
                </a:cubicBezTo>
                <a:close/>
                <a:moveTo>
                  <a:pt x="268" y="203"/>
                </a:moveTo>
                <a:cubicBezTo>
                  <a:pt x="286" y="222"/>
                  <a:pt x="284" y="251"/>
                  <a:pt x="265" y="268"/>
                </a:cubicBezTo>
                <a:cubicBezTo>
                  <a:pt x="246" y="286"/>
                  <a:pt x="217" y="284"/>
                  <a:pt x="200" y="265"/>
                </a:cubicBezTo>
                <a:cubicBezTo>
                  <a:pt x="182" y="246"/>
                  <a:pt x="183" y="217"/>
                  <a:pt x="203" y="200"/>
                </a:cubicBezTo>
                <a:cubicBezTo>
                  <a:pt x="222" y="182"/>
                  <a:pt x="251" y="183"/>
                  <a:pt x="268" y="203"/>
                </a:cubicBezTo>
                <a:close/>
                <a:moveTo>
                  <a:pt x="327" y="268"/>
                </a:moveTo>
                <a:cubicBezTo>
                  <a:pt x="316" y="263"/>
                  <a:pt x="316" y="263"/>
                  <a:pt x="316" y="263"/>
                </a:cubicBezTo>
                <a:cubicBezTo>
                  <a:pt x="322" y="246"/>
                  <a:pt x="322" y="227"/>
                  <a:pt x="317" y="210"/>
                </a:cubicBezTo>
                <a:cubicBezTo>
                  <a:pt x="329" y="206"/>
                  <a:pt x="329" y="206"/>
                  <a:pt x="329" y="206"/>
                </a:cubicBezTo>
                <a:cubicBezTo>
                  <a:pt x="330" y="212"/>
                  <a:pt x="332" y="219"/>
                  <a:pt x="332" y="226"/>
                </a:cubicBezTo>
                <a:cubicBezTo>
                  <a:pt x="359" y="227"/>
                  <a:pt x="359" y="227"/>
                  <a:pt x="359" y="227"/>
                </a:cubicBezTo>
                <a:cubicBezTo>
                  <a:pt x="359" y="234"/>
                  <a:pt x="359" y="240"/>
                  <a:pt x="359" y="247"/>
                </a:cubicBezTo>
                <a:cubicBezTo>
                  <a:pt x="332" y="246"/>
                  <a:pt x="332" y="246"/>
                  <a:pt x="332" y="246"/>
                </a:cubicBezTo>
                <a:cubicBezTo>
                  <a:pt x="331" y="253"/>
                  <a:pt x="329" y="261"/>
                  <a:pt x="327" y="268"/>
                </a:cubicBezTo>
                <a:close/>
                <a:moveTo>
                  <a:pt x="116" y="342"/>
                </a:moveTo>
                <a:cubicBezTo>
                  <a:pt x="103" y="328"/>
                  <a:pt x="94" y="313"/>
                  <a:pt x="87" y="297"/>
                </a:cubicBezTo>
                <a:cubicBezTo>
                  <a:pt x="97" y="294"/>
                  <a:pt x="97" y="294"/>
                  <a:pt x="97" y="294"/>
                </a:cubicBezTo>
                <a:cubicBezTo>
                  <a:pt x="102" y="305"/>
                  <a:pt x="109" y="317"/>
                  <a:pt x="117" y="327"/>
                </a:cubicBezTo>
                <a:cubicBezTo>
                  <a:pt x="127" y="318"/>
                  <a:pt x="127" y="318"/>
                  <a:pt x="127" y="318"/>
                </a:cubicBezTo>
                <a:cubicBezTo>
                  <a:pt x="129" y="321"/>
                  <a:pt x="131" y="323"/>
                  <a:pt x="134" y="326"/>
                </a:cubicBezTo>
                <a:cubicBezTo>
                  <a:pt x="136" y="328"/>
                  <a:pt x="138" y="331"/>
                  <a:pt x="141" y="333"/>
                </a:cubicBezTo>
                <a:cubicBezTo>
                  <a:pt x="131" y="342"/>
                  <a:pt x="131" y="342"/>
                  <a:pt x="131" y="342"/>
                </a:cubicBezTo>
                <a:cubicBezTo>
                  <a:pt x="142" y="352"/>
                  <a:pt x="153" y="361"/>
                  <a:pt x="166" y="367"/>
                </a:cubicBezTo>
                <a:cubicBezTo>
                  <a:pt x="162" y="377"/>
                  <a:pt x="162" y="377"/>
                  <a:pt x="162" y="377"/>
                </a:cubicBezTo>
                <a:cubicBezTo>
                  <a:pt x="145" y="368"/>
                  <a:pt x="129" y="357"/>
                  <a:pt x="116" y="342"/>
                </a:cubicBezTo>
                <a:close/>
                <a:moveTo>
                  <a:pt x="175" y="383"/>
                </a:moveTo>
                <a:cubicBezTo>
                  <a:pt x="179" y="373"/>
                  <a:pt x="179" y="373"/>
                  <a:pt x="179" y="373"/>
                </a:cubicBezTo>
                <a:cubicBezTo>
                  <a:pt x="192" y="378"/>
                  <a:pt x="206" y="381"/>
                  <a:pt x="220" y="383"/>
                </a:cubicBezTo>
                <a:cubicBezTo>
                  <a:pt x="220" y="369"/>
                  <a:pt x="220" y="369"/>
                  <a:pt x="220" y="369"/>
                </a:cubicBezTo>
                <a:cubicBezTo>
                  <a:pt x="227" y="370"/>
                  <a:pt x="234" y="370"/>
                  <a:pt x="241" y="370"/>
                </a:cubicBezTo>
                <a:cubicBezTo>
                  <a:pt x="240" y="383"/>
                  <a:pt x="240" y="383"/>
                  <a:pt x="240" y="383"/>
                </a:cubicBezTo>
                <a:cubicBezTo>
                  <a:pt x="254" y="383"/>
                  <a:pt x="267" y="380"/>
                  <a:pt x="280" y="376"/>
                </a:cubicBezTo>
                <a:cubicBezTo>
                  <a:pt x="284" y="386"/>
                  <a:pt x="284" y="386"/>
                  <a:pt x="284" y="386"/>
                </a:cubicBezTo>
                <a:cubicBezTo>
                  <a:pt x="248" y="398"/>
                  <a:pt x="210" y="397"/>
                  <a:pt x="175" y="383"/>
                </a:cubicBezTo>
                <a:close/>
                <a:moveTo>
                  <a:pt x="297" y="381"/>
                </a:moveTo>
                <a:cubicBezTo>
                  <a:pt x="294" y="371"/>
                  <a:pt x="294" y="371"/>
                  <a:pt x="294" y="371"/>
                </a:cubicBezTo>
                <a:cubicBezTo>
                  <a:pt x="306" y="365"/>
                  <a:pt x="319" y="358"/>
                  <a:pt x="330" y="348"/>
                </a:cubicBezTo>
                <a:cubicBezTo>
                  <a:pt x="321" y="339"/>
                  <a:pt x="321" y="339"/>
                  <a:pt x="321" y="339"/>
                </a:cubicBezTo>
                <a:cubicBezTo>
                  <a:pt x="322" y="337"/>
                  <a:pt x="324" y="336"/>
                  <a:pt x="326" y="334"/>
                </a:cubicBezTo>
                <a:cubicBezTo>
                  <a:pt x="329" y="331"/>
                  <a:pt x="332" y="328"/>
                  <a:pt x="335" y="325"/>
                </a:cubicBezTo>
                <a:cubicBezTo>
                  <a:pt x="344" y="334"/>
                  <a:pt x="344" y="334"/>
                  <a:pt x="344" y="334"/>
                </a:cubicBezTo>
                <a:cubicBezTo>
                  <a:pt x="354" y="324"/>
                  <a:pt x="361" y="313"/>
                  <a:pt x="367" y="302"/>
                </a:cubicBezTo>
                <a:cubicBezTo>
                  <a:pt x="377" y="306"/>
                  <a:pt x="377" y="306"/>
                  <a:pt x="377" y="306"/>
                </a:cubicBezTo>
                <a:cubicBezTo>
                  <a:pt x="368" y="323"/>
                  <a:pt x="357" y="339"/>
                  <a:pt x="342" y="352"/>
                </a:cubicBezTo>
                <a:cubicBezTo>
                  <a:pt x="328" y="365"/>
                  <a:pt x="313" y="374"/>
                  <a:pt x="297" y="381"/>
                </a:cubicBezTo>
                <a:close/>
                <a:moveTo>
                  <a:pt x="383" y="293"/>
                </a:moveTo>
                <a:cubicBezTo>
                  <a:pt x="373" y="289"/>
                  <a:pt x="373" y="289"/>
                  <a:pt x="373" y="289"/>
                </a:cubicBezTo>
                <a:cubicBezTo>
                  <a:pt x="378" y="276"/>
                  <a:pt x="381" y="262"/>
                  <a:pt x="383" y="248"/>
                </a:cubicBezTo>
                <a:cubicBezTo>
                  <a:pt x="369" y="248"/>
                  <a:pt x="369" y="248"/>
                  <a:pt x="369" y="248"/>
                </a:cubicBezTo>
                <a:cubicBezTo>
                  <a:pt x="370" y="241"/>
                  <a:pt x="370" y="234"/>
                  <a:pt x="370" y="227"/>
                </a:cubicBezTo>
                <a:cubicBezTo>
                  <a:pt x="383" y="228"/>
                  <a:pt x="383" y="228"/>
                  <a:pt x="383" y="228"/>
                </a:cubicBezTo>
                <a:cubicBezTo>
                  <a:pt x="383" y="214"/>
                  <a:pt x="380" y="201"/>
                  <a:pt x="376" y="188"/>
                </a:cubicBezTo>
                <a:cubicBezTo>
                  <a:pt x="386" y="184"/>
                  <a:pt x="386" y="184"/>
                  <a:pt x="386" y="184"/>
                </a:cubicBezTo>
                <a:cubicBezTo>
                  <a:pt x="398" y="220"/>
                  <a:pt x="397" y="258"/>
                  <a:pt x="383" y="293"/>
                </a:cubicBezTo>
                <a:close/>
                <a:moveTo>
                  <a:pt x="352" y="126"/>
                </a:moveTo>
                <a:cubicBezTo>
                  <a:pt x="365" y="140"/>
                  <a:pt x="374" y="155"/>
                  <a:pt x="381" y="171"/>
                </a:cubicBezTo>
                <a:cubicBezTo>
                  <a:pt x="371" y="174"/>
                  <a:pt x="371" y="174"/>
                  <a:pt x="371" y="174"/>
                </a:cubicBezTo>
                <a:cubicBezTo>
                  <a:pt x="366" y="163"/>
                  <a:pt x="359" y="151"/>
                  <a:pt x="351" y="141"/>
                </a:cubicBezTo>
                <a:cubicBezTo>
                  <a:pt x="341" y="150"/>
                  <a:pt x="341" y="150"/>
                  <a:pt x="341" y="150"/>
                </a:cubicBezTo>
                <a:cubicBezTo>
                  <a:pt x="339" y="147"/>
                  <a:pt x="337" y="145"/>
                  <a:pt x="334" y="142"/>
                </a:cubicBezTo>
                <a:cubicBezTo>
                  <a:pt x="332" y="140"/>
                  <a:pt x="330" y="137"/>
                  <a:pt x="327" y="135"/>
                </a:cubicBezTo>
                <a:cubicBezTo>
                  <a:pt x="337" y="126"/>
                  <a:pt x="337" y="126"/>
                  <a:pt x="337" y="126"/>
                </a:cubicBezTo>
                <a:cubicBezTo>
                  <a:pt x="326" y="116"/>
                  <a:pt x="314" y="107"/>
                  <a:pt x="302" y="101"/>
                </a:cubicBezTo>
                <a:cubicBezTo>
                  <a:pt x="306" y="91"/>
                  <a:pt x="306" y="91"/>
                  <a:pt x="306" y="91"/>
                </a:cubicBezTo>
                <a:cubicBezTo>
                  <a:pt x="323" y="100"/>
                  <a:pt x="339" y="111"/>
                  <a:pt x="352" y="126"/>
                </a:cubicBezTo>
                <a:close/>
                <a:moveTo>
                  <a:pt x="293" y="85"/>
                </a:moveTo>
                <a:cubicBezTo>
                  <a:pt x="289" y="95"/>
                  <a:pt x="289" y="95"/>
                  <a:pt x="289" y="95"/>
                </a:cubicBezTo>
                <a:cubicBezTo>
                  <a:pt x="277" y="91"/>
                  <a:pt x="266" y="88"/>
                  <a:pt x="254" y="86"/>
                </a:cubicBezTo>
                <a:cubicBezTo>
                  <a:pt x="253" y="99"/>
                  <a:pt x="253" y="99"/>
                  <a:pt x="253" y="99"/>
                </a:cubicBezTo>
                <a:cubicBezTo>
                  <a:pt x="246" y="98"/>
                  <a:pt x="239" y="98"/>
                  <a:pt x="233" y="98"/>
                </a:cubicBezTo>
                <a:cubicBezTo>
                  <a:pt x="233" y="85"/>
                  <a:pt x="233" y="85"/>
                  <a:pt x="233" y="85"/>
                </a:cubicBezTo>
                <a:cubicBezTo>
                  <a:pt x="218" y="85"/>
                  <a:pt x="203" y="87"/>
                  <a:pt x="188" y="92"/>
                </a:cubicBezTo>
                <a:cubicBezTo>
                  <a:pt x="184" y="82"/>
                  <a:pt x="184" y="82"/>
                  <a:pt x="184" y="82"/>
                </a:cubicBezTo>
                <a:cubicBezTo>
                  <a:pt x="220" y="70"/>
                  <a:pt x="258" y="71"/>
                  <a:pt x="293" y="85"/>
                </a:cubicBezTo>
                <a:close/>
                <a:moveTo>
                  <a:pt x="171" y="87"/>
                </a:moveTo>
                <a:cubicBezTo>
                  <a:pt x="174" y="97"/>
                  <a:pt x="174" y="97"/>
                  <a:pt x="174" y="97"/>
                </a:cubicBezTo>
                <a:cubicBezTo>
                  <a:pt x="164" y="102"/>
                  <a:pt x="154" y="108"/>
                  <a:pt x="144" y="115"/>
                </a:cubicBezTo>
                <a:cubicBezTo>
                  <a:pt x="153" y="125"/>
                  <a:pt x="153" y="125"/>
                  <a:pt x="153" y="125"/>
                </a:cubicBezTo>
                <a:cubicBezTo>
                  <a:pt x="149" y="127"/>
                  <a:pt x="146" y="130"/>
                  <a:pt x="142" y="134"/>
                </a:cubicBezTo>
                <a:cubicBezTo>
                  <a:pt x="141" y="135"/>
                  <a:pt x="139" y="137"/>
                  <a:pt x="138" y="138"/>
                </a:cubicBezTo>
                <a:cubicBezTo>
                  <a:pt x="129" y="128"/>
                  <a:pt x="129" y="128"/>
                  <a:pt x="129" y="128"/>
                </a:cubicBezTo>
                <a:cubicBezTo>
                  <a:pt x="117" y="140"/>
                  <a:pt x="108" y="152"/>
                  <a:pt x="101" y="166"/>
                </a:cubicBezTo>
                <a:cubicBezTo>
                  <a:pt x="91" y="162"/>
                  <a:pt x="91" y="162"/>
                  <a:pt x="91" y="162"/>
                </a:cubicBezTo>
                <a:cubicBezTo>
                  <a:pt x="100" y="145"/>
                  <a:pt x="111" y="129"/>
                  <a:pt x="126" y="116"/>
                </a:cubicBezTo>
                <a:cubicBezTo>
                  <a:pt x="140" y="103"/>
                  <a:pt x="155" y="94"/>
                  <a:pt x="171" y="87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IN" sz="1798" kern="0">
              <a:solidFill>
                <a:srgbClr val="FFFFFF"/>
              </a:solidFill>
            </a:endParaRPr>
          </a:p>
        </p:txBody>
      </p:sp>
      <p:grpSp>
        <p:nvGrpSpPr>
          <p:cNvPr id="22" name="Group 34"/>
          <p:cNvGrpSpPr>
            <a:grpSpLocks noChangeAspect="1"/>
          </p:cNvGrpSpPr>
          <p:nvPr userDrawn="1"/>
        </p:nvGrpSpPr>
        <p:grpSpPr bwMode="auto">
          <a:xfrm>
            <a:off x="1058542" y="482516"/>
            <a:ext cx="613919" cy="613372"/>
            <a:chOff x="3490" y="1809"/>
            <a:chExt cx="708" cy="707"/>
          </a:xfrm>
          <a:solidFill>
            <a:schemeClr val="tx2">
              <a:lumMod val="50000"/>
            </a:schemeClr>
          </a:solidFill>
        </p:grpSpPr>
        <p:sp>
          <p:nvSpPr>
            <p:cNvPr id="23" name="Freeform 35"/>
            <p:cNvSpPr>
              <a:spLocks noEditPoints="1"/>
            </p:cNvSpPr>
            <p:nvPr/>
          </p:nvSpPr>
          <p:spPr bwMode="auto">
            <a:xfrm>
              <a:off x="3490" y="1809"/>
              <a:ext cx="708" cy="707"/>
            </a:xfrm>
            <a:custGeom>
              <a:avLst/>
              <a:gdLst>
                <a:gd name="T0" fmla="*/ 42 w 297"/>
                <a:gd name="T1" fmla="*/ 64 h 297"/>
                <a:gd name="T2" fmla="*/ 16 w 297"/>
                <a:gd name="T3" fmla="*/ 82 h 297"/>
                <a:gd name="T4" fmla="*/ 5 w 297"/>
                <a:gd name="T5" fmla="*/ 111 h 297"/>
                <a:gd name="T6" fmla="*/ 11 w 297"/>
                <a:gd name="T7" fmla="*/ 142 h 297"/>
                <a:gd name="T8" fmla="*/ 2 w 297"/>
                <a:gd name="T9" fmla="*/ 172 h 297"/>
                <a:gd name="T10" fmla="*/ 10 w 297"/>
                <a:gd name="T11" fmla="*/ 201 h 297"/>
                <a:gd name="T12" fmla="*/ 32 w 297"/>
                <a:gd name="T13" fmla="*/ 223 h 297"/>
                <a:gd name="T14" fmla="*/ 42 w 297"/>
                <a:gd name="T15" fmla="*/ 253 h 297"/>
                <a:gd name="T16" fmla="*/ 66 w 297"/>
                <a:gd name="T17" fmla="*/ 272 h 297"/>
                <a:gd name="T18" fmla="*/ 97 w 297"/>
                <a:gd name="T19" fmla="*/ 277 h 297"/>
                <a:gd name="T20" fmla="*/ 122 w 297"/>
                <a:gd name="T21" fmla="*/ 295 h 297"/>
                <a:gd name="T22" fmla="*/ 153 w 297"/>
                <a:gd name="T23" fmla="*/ 297 h 297"/>
                <a:gd name="T24" fmla="*/ 180 w 297"/>
                <a:gd name="T25" fmla="*/ 282 h 297"/>
                <a:gd name="T26" fmla="*/ 213 w 297"/>
                <a:gd name="T27" fmla="*/ 283 h 297"/>
                <a:gd name="T28" fmla="*/ 239 w 297"/>
                <a:gd name="T29" fmla="*/ 267 h 297"/>
                <a:gd name="T30" fmla="*/ 251 w 297"/>
                <a:gd name="T31" fmla="*/ 237 h 297"/>
                <a:gd name="T32" fmla="*/ 271 w 297"/>
                <a:gd name="T33" fmla="*/ 233 h 297"/>
                <a:gd name="T34" fmla="*/ 282 w 297"/>
                <a:gd name="T35" fmla="*/ 213 h 297"/>
                <a:gd name="T36" fmla="*/ 288 w 297"/>
                <a:gd name="T37" fmla="*/ 198 h 297"/>
                <a:gd name="T38" fmla="*/ 293 w 297"/>
                <a:gd name="T39" fmla="*/ 175 h 297"/>
                <a:gd name="T40" fmla="*/ 282 w 297"/>
                <a:gd name="T41" fmla="*/ 159 h 297"/>
                <a:gd name="T42" fmla="*/ 295 w 297"/>
                <a:gd name="T43" fmla="*/ 144 h 297"/>
                <a:gd name="T44" fmla="*/ 294 w 297"/>
                <a:gd name="T45" fmla="*/ 120 h 297"/>
                <a:gd name="T46" fmla="*/ 290 w 297"/>
                <a:gd name="T47" fmla="*/ 105 h 297"/>
                <a:gd name="T48" fmla="*/ 279 w 297"/>
                <a:gd name="T49" fmla="*/ 84 h 297"/>
                <a:gd name="T50" fmla="*/ 261 w 297"/>
                <a:gd name="T51" fmla="*/ 78 h 297"/>
                <a:gd name="T52" fmla="*/ 263 w 297"/>
                <a:gd name="T53" fmla="*/ 58 h 297"/>
                <a:gd name="T54" fmla="*/ 248 w 297"/>
                <a:gd name="T55" fmla="*/ 39 h 297"/>
                <a:gd name="T56" fmla="*/ 236 w 297"/>
                <a:gd name="T57" fmla="*/ 29 h 297"/>
                <a:gd name="T58" fmla="*/ 215 w 297"/>
                <a:gd name="T59" fmla="*/ 19 h 297"/>
                <a:gd name="T60" fmla="*/ 197 w 297"/>
                <a:gd name="T61" fmla="*/ 24 h 297"/>
                <a:gd name="T62" fmla="*/ 187 w 297"/>
                <a:gd name="T63" fmla="*/ 7 h 297"/>
                <a:gd name="T64" fmla="*/ 164 w 297"/>
                <a:gd name="T65" fmla="*/ 1 h 297"/>
                <a:gd name="T66" fmla="*/ 148 w 297"/>
                <a:gd name="T67" fmla="*/ 0 h 297"/>
                <a:gd name="T68" fmla="*/ 125 w 297"/>
                <a:gd name="T69" fmla="*/ 4 h 297"/>
                <a:gd name="T70" fmla="*/ 113 w 297"/>
                <a:gd name="T71" fmla="*/ 19 h 297"/>
                <a:gd name="T72" fmla="*/ 95 w 297"/>
                <a:gd name="T73" fmla="*/ 11 h 297"/>
                <a:gd name="T74" fmla="*/ 73 w 297"/>
                <a:gd name="T75" fmla="*/ 21 h 297"/>
                <a:gd name="T76" fmla="*/ 60 w 297"/>
                <a:gd name="T77" fmla="*/ 29 h 297"/>
                <a:gd name="T78" fmla="*/ 28 w 297"/>
                <a:gd name="T79" fmla="*/ 118 h 297"/>
                <a:gd name="T80" fmla="*/ 102 w 297"/>
                <a:gd name="T81" fmla="*/ 98 h 297"/>
                <a:gd name="T82" fmla="*/ 102 w 297"/>
                <a:gd name="T83" fmla="*/ 98 h 297"/>
                <a:gd name="T84" fmla="*/ 145 w 297"/>
                <a:gd name="T85" fmla="*/ 218 h 297"/>
                <a:gd name="T86" fmla="*/ 195 w 297"/>
                <a:gd name="T87" fmla="*/ 200 h 297"/>
                <a:gd name="T88" fmla="*/ 88 w 297"/>
                <a:gd name="T89" fmla="*/ 213 h 297"/>
                <a:gd name="T90" fmla="*/ 265 w 297"/>
                <a:gd name="T91" fmla="*/ 193 h 297"/>
                <a:gd name="T92" fmla="*/ 208 w 297"/>
                <a:gd name="T93" fmla="*/ 214 h 297"/>
                <a:gd name="T94" fmla="*/ 234 w 297"/>
                <a:gd name="T95" fmla="*/ 169 h 297"/>
                <a:gd name="T96" fmla="*/ 157 w 297"/>
                <a:gd name="T97" fmla="*/ 159 h 297"/>
                <a:gd name="T98" fmla="*/ 157 w 297"/>
                <a:gd name="T99" fmla="*/ 159 h 297"/>
                <a:gd name="T100" fmla="*/ 128 w 297"/>
                <a:gd name="T101" fmla="*/ 26 h 297"/>
                <a:gd name="T102" fmla="*/ 89 w 297"/>
                <a:gd name="T103" fmla="*/ 84 h 297"/>
                <a:gd name="T104" fmla="*/ 115 w 297"/>
                <a:gd name="T105" fmla="*/ 29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7" h="297">
                  <a:moveTo>
                    <a:pt x="57" y="49"/>
                  </a:moveTo>
                  <a:cubicBezTo>
                    <a:pt x="54" y="52"/>
                    <a:pt x="47" y="50"/>
                    <a:pt x="43" y="45"/>
                  </a:cubicBezTo>
                  <a:cubicBezTo>
                    <a:pt x="41" y="47"/>
                    <a:pt x="39" y="48"/>
                    <a:pt x="38" y="50"/>
                  </a:cubicBezTo>
                  <a:cubicBezTo>
                    <a:pt x="43" y="55"/>
                    <a:pt x="45" y="61"/>
                    <a:pt x="42" y="64"/>
                  </a:cubicBezTo>
                  <a:cubicBezTo>
                    <a:pt x="39" y="67"/>
                    <a:pt x="33" y="67"/>
                    <a:pt x="28" y="63"/>
                  </a:cubicBezTo>
                  <a:cubicBezTo>
                    <a:pt x="26" y="65"/>
                    <a:pt x="25" y="67"/>
                    <a:pt x="23" y="69"/>
                  </a:cubicBezTo>
                  <a:cubicBezTo>
                    <a:pt x="29" y="72"/>
                    <a:pt x="32" y="78"/>
                    <a:pt x="30" y="81"/>
                  </a:cubicBezTo>
                  <a:cubicBezTo>
                    <a:pt x="28" y="85"/>
                    <a:pt x="22" y="85"/>
                    <a:pt x="16" y="82"/>
                  </a:cubicBezTo>
                  <a:cubicBezTo>
                    <a:pt x="15" y="85"/>
                    <a:pt x="14" y="87"/>
                    <a:pt x="13" y="89"/>
                  </a:cubicBezTo>
                  <a:cubicBezTo>
                    <a:pt x="18" y="92"/>
                    <a:pt x="22" y="97"/>
                    <a:pt x="20" y="100"/>
                  </a:cubicBezTo>
                  <a:cubicBezTo>
                    <a:pt x="19" y="104"/>
                    <a:pt x="13" y="106"/>
                    <a:pt x="7" y="104"/>
                  </a:cubicBezTo>
                  <a:cubicBezTo>
                    <a:pt x="6" y="106"/>
                    <a:pt x="6" y="109"/>
                    <a:pt x="5" y="111"/>
                  </a:cubicBezTo>
                  <a:cubicBezTo>
                    <a:pt x="11" y="113"/>
                    <a:pt x="15" y="117"/>
                    <a:pt x="14" y="121"/>
                  </a:cubicBezTo>
                  <a:cubicBezTo>
                    <a:pt x="13" y="125"/>
                    <a:pt x="8" y="127"/>
                    <a:pt x="2" y="126"/>
                  </a:cubicBezTo>
                  <a:cubicBezTo>
                    <a:pt x="1" y="129"/>
                    <a:pt x="1" y="131"/>
                    <a:pt x="1" y="134"/>
                  </a:cubicBezTo>
                  <a:cubicBezTo>
                    <a:pt x="7" y="134"/>
                    <a:pt x="11" y="138"/>
                    <a:pt x="11" y="142"/>
                  </a:cubicBezTo>
                  <a:cubicBezTo>
                    <a:pt x="11" y="146"/>
                    <a:pt x="6" y="149"/>
                    <a:pt x="0" y="149"/>
                  </a:cubicBezTo>
                  <a:cubicBezTo>
                    <a:pt x="0" y="152"/>
                    <a:pt x="0" y="154"/>
                    <a:pt x="0" y="157"/>
                  </a:cubicBezTo>
                  <a:cubicBezTo>
                    <a:pt x="6" y="157"/>
                    <a:pt x="11" y="159"/>
                    <a:pt x="12" y="163"/>
                  </a:cubicBezTo>
                  <a:cubicBezTo>
                    <a:pt x="12" y="167"/>
                    <a:pt x="8" y="171"/>
                    <a:pt x="2" y="172"/>
                  </a:cubicBezTo>
                  <a:cubicBezTo>
                    <a:pt x="2" y="175"/>
                    <a:pt x="3" y="177"/>
                    <a:pt x="3" y="179"/>
                  </a:cubicBezTo>
                  <a:cubicBezTo>
                    <a:pt x="9" y="179"/>
                    <a:pt x="14" y="180"/>
                    <a:pt x="15" y="184"/>
                  </a:cubicBezTo>
                  <a:cubicBezTo>
                    <a:pt x="16" y="188"/>
                    <a:pt x="13" y="192"/>
                    <a:pt x="7" y="194"/>
                  </a:cubicBezTo>
                  <a:cubicBezTo>
                    <a:pt x="8" y="197"/>
                    <a:pt x="9" y="199"/>
                    <a:pt x="10" y="201"/>
                  </a:cubicBezTo>
                  <a:cubicBezTo>
                    <a:pt x="15" y="200"/>
                    <a:pt x="21" y="201"/>
                    <a:pt x="22" y="204"/>
                  </a:cubicBezTo>
                  <a:cubicBezTo>
                    <a:pt x="24" y="208"/>
                    <a:pt x="21" y="213"/>
                    <a:pt x="16" y="216"/>
                  </a:cubicBezTo>
                  <a:cubicBezTo>
                    <a:pt x="17" y="218"/>
                    <a:pt x="18" y="220"/>
                    <a:pt x="19" y="222"/>
                  </a:cubicBezTo>
                  <a:cubicBezTo>
                    <a:pt x="25" y="220"/>
                    <a:pt x="30" y="220"/>
                    <a:pt x="32" y="223"/>
                  </a:cubicBezTo>
                  <a:cubicBezTo>
                    <a:pt x="34" y="226"/>
                    <a:pt x="32" y="231"/>
                    <a:pt x="28" y="235"/>
                  </a:cubicBezTo>
                  <a:cubicBezTo>
                    <a:pt x="29" y="237"/>
                    <a:pt x="31" y="239"/>
                    <a:pt x="32" y="241"/>
                  </a:cubicBezTo>
                  <a:cubicBezTo>
                    <a:pt x="37" y="238"/>
                    <a:pt x="42" y="237"/>
                    <a:pt x="45" y="240"/>
                  </a:cubicBezTo>
                  <a:cubicBezTo>
                    <a:pt x="47" y="243"/>
                    <a:pt x="46" y="248"/>
                    <a:pt x="42" y="253"/>
                  </a:cubicBezTo>
                  <a:cubicBezTo>
                    <a:pt x="44" y="255"/>
                    <a:pt x="46" y="256"/>
                    <a:pt x="48" y="258"/>
                  </a:cubicBezTo>
                  <a:cubicBezTo>
                    <a:pt x="52" y="254"/>
                    <a:pt x="57" y="253"/>
                    <a:pt x="60" y="255"/>
                  </a:cubicBezTo>
                  <a:cubicBezTo>
                    <a:pt x="63" y="257"/>
                    <a:pt x="63" y="263"/>
                    <a:pt x="60" y="268"/>
                  </a:cubicBezTo>
                  <a:cubicBezTo>
                    <a:pt x="62" y="269"/>
                    <a:pt x="64" y="271"/>
                    <a:pt x="66" y="272"/>
                  </a:cubicBezTo>
                  <a:cubicBezTo>
                    <a:pt x="69" y="268"/>
                    <a:pt x="74" y="265"/>
                    <a:pt x="78" y="267"/>
                  </a:cubicBezTo>
                  <a:cubicBezTo>
                    <a:pt x="81" y="269"/>
                    <a:pt x="81" y="275"/>
                    <a:pt x="79" y="280"/>
                  </a:cubicBezTo>
                  <a:cubicBezTo>
                    <a:pt x="81" y="281"/>
                    <a:pt x="84" y="282"/>
                    <a:pt x="86" y="283"/>
                  </a:cubicBezTo>
                  <a:cubicBezTo>
                    <a:pt x="89" y="278"/>
                    <a:pt x="93" y="275"/>
                    <a:pt x="97" y="277"/>
                  </a:cubicBezTo>
                  <a:cubicBezTo>
                    <a:pt x="100" y="278"/>
                    <a:pt x="102" y="283"/>
                    <a:pt x="100" y="289"/>
                  </a:cubicBezTo>
                  <a:cubicBezTo>
                    <a:pt x="103" y="290"/>
                    <a:pt x="105" y="291"/>
                    <a:pt x="107" y="291"/>
                  </a:cubicBezTo>
                  <a:cubicBezTo>
                    <a:pt x="109" y="286"/>
                    <a:pt x="113" y="282"/>
                    <a:pt x="117" y="283"/>
                  </a:cubicBezTo>
                  <a:cubicBezTo>
                    <a:pt x="121" y="284"/>
                    <a:pt x="123" y="289"/>
                    <a:pt x="122" y="295"/>
                  </a:cubicBezTo>
                  <a:cubicBezTo>
                    <a:pt x="125" y="295"/>
                    <a:pt x="127" y="296"/>
                    <a:pt x="130" y="296"/>
                  </a:cubicBezTo>
                  <a:cubicBezTo>
                    <a:pt x="131" y="290"/>
                    <a:pt x="134" y="286"/>
                    <a:pt x="138" y="286"/>
                  </a:cubicBezTo>
                  <a:cubicBezTo>
                    <a:pt x="142" y="286"/>
                    <a:pt x="145" y="291"/>
                    <a:pt x="145" y="297"/>
                  </a:cubicBezTo>
                  <a:cubicBezTo>
                    <a:pt x="148" y="297"/>
                    <a:pt x="150" y="297"/>
                    <a:pt x="153" y="297"/>
                  </a:cubicBezTo>
                  <a:cubicBezTo>
                    <a:pt x="153" y="291"/>
                    <a:pt x="155" y="286"/>
                    <a:pt x="159" y="286"/>
                  </a:cubicBezTo>
                  <a:cubicBezTo>
                    <a:pt x="163" y="285"/>
                    <a:pt x="167" y="290"/>
                    <a:pt x="168" y="296"/>
                  </a:cubicBezTo>
                  <a:cubicBezTo>
                    <a:pt x="171" y="296"/>
                    <a:pt x="173" y="295"/>
                    <a:pt x="176" y="295"/>
                  </a:cubicBezTo>
                  <a:cubicBezTo>
                    <a:pt x="175" y="289"/>
                    <a:pt x="176" y="283"/>
                    <a:pt x="180" y="282"/>
                  </a:cubicBezTo>
                  <a:cubicBezTo>
                    <a:pt x="184" y="281"/>
                    <a:pt x="189" y="285"/>
                    <a:pt x="191" y="291"/>
                  </a:cubicBezTo>
                  <a:cubicBezTo>
                    <a:pt x="193" y="290"/>
                    <a:pt x="196" y="290"/>
                    <a:pt x="198" y="289"/>
                  </a:cubicBezTo>
                  <a:cubicBezTo>
                    <a:pt x="196" y="283"/>
                    <a:pt x="197" y="277"/>
                    <a:pt x="200" y="275"/>
                  </a:cubicBezTo>
                  <a:cubicBezTo>
                    <a:pt x="204" y="273"/>
                    <a:pt x="210" y="277"/>
                    <a:pt x="213" y="283"/>
                  </a:cubicBezTo>
                  <a:cubicBezTo>
                    <a:pt x="215" y="282"/>
                    <a:pt x="217" y="280"/>
                    <a:pt x="219" y="279"/>
                  </a:cubicBezTo>
                  <a:cubicBezTo>
                    <a:pt x="216" y="274"/>
                    <a:pt x="216" y="267"/>
                    <a:pt x="219" y="265"/>
                  </a:cubicBezTo>
                  <a:cubicBezTo>
                    <a:pt x="223" y="263"/>
                    <a:pt x="229" y="265"/>
                    <a:pt x="233" y="271"/>
                  </a:cubicBezTo>
                  <a:cubicBezTo>
                    <a:pt x="235" y="270"/>
                    <a:pt x="237" y="268"/>
                    <a:pt x="239" y="267"/>
                  </a:cubicBezTo>
                  <a:cubicBezTo>
                    <a:pt x="234" y="261"/>
                    <a:pt x="233" y="255"/>
                    <a:pt x="236" y="252"/>
                  </a:cubicBezTo>
                  <a:cubicBezTo>
                    <a:pt x="240" y="249"/>
                    <a:pt x="246" y="251"/>
                    <a:pt x="251" y="256"/>
                  </a:cubicBezTo>
                  <a:cubicBezTo>
                    <a:pt x="253" y="255"/>
                    <a:pt x="254" y="253"/>
                    <a:pt x="256" y="251"/>
                  </a:cubicBezTo>
                  <a:cubicBezTo>
                    <a:pt x="251" y="247"/>
                    <a:pt x="248" y="240"/>
                    <a:pt x="251" y="237"/>
                  </a:cubicBezTo>
                  <a:cubicBezTo>
                    <a:pt x="254" y="234"/>
                    <a:pt x="261" y="234"/>
                    <a:pt x="266" y="239"/>
                  </a:cubicBezTo>
                  <a:cubicBezTo>
                    <a:pt x="266" y="239"/>
                    <a:pt x="266" y="239"/>
                    <a:pt x="266" y="239"/>
                  </a:cubicBezTo>
                  <a:cubicBezTo>
                    <a:pt x="268" y="237"/>
                    <a:pt x="269" y="235"/>
                    <a:pt x="271" y="233"/>
                  </a:cubicBezTo>
                  <a:cubicBezTo>
                    <a:pt x="271" y="233"/>
                    <a:pt x="271" y="233"/>
                    <a:pt x="271" y="233"/>
                  </a:cubicBezTo>
                  <a:cubicBezTo>
                    <a:pt x="264" y="229"/>
                    <a:pt x="261" y="223"/>
                    <a:pt x="263" y="220"/>
                  </a:cubicBezTo>
                  <a:cubicBezTo>
                    <a:pt x="266" y="216"/>
                    <a:pt x="272" y="215"/>
                    <a:pt x="278" y="219"/>
                  </a:cubicBezTo>
                  <a:cubicBezTo>
                    <a:pt x="279" y="219"/>
                    <a:pt x="279" y="219"/>
                    <a:pt x="279" y="219"/>
                  </a:cubicBezTo>
                  <a:cubicBezTo>
                    <a:pt x="280" y="217"/>
                    <a:pt x="281" y="215"/>
                    <a:pt x="282" y="213"/>
                  </a:cubicBezTo>
                  <a:cubicBezTo>
                    <a:pt x="282" y="212"/>
                    <a:pt x="282" y="212"/>
                    <a:pt x="282" y="212"/>
                  </a:cubicBezTo>
                  <a:cubicBezTo>
                    <a:pt x="275" y="210"/>
                    <a:pt x="271" y="205"/>
                    <a:pt x="273" y="200"/>
                  </a:cubicBezTo>
                  <a:cubicBezTo>
                    <a:pt x="274" y="196"/>
                    <a:pt x="281" y="195"/>
                    <a:pt x="287" y="197"/>
                  </a:cubicBezTo>
                  <a:cubicBezTo>
                    <a:pt x="288" y="198"/>
                    <a:pt x="288" y="198"/>
                    <a:pt x="288" y="198"/>
                  </a:cubicBezTo>
                  <a:cubicBezTo>
                    <a:pt x="289" y="195"/>
                    <a:pt x="290" y="193"/>
                    <a:pt x="291" y="191"/>
                  </a:cubicBezTo>
                  <a:cubicBezTo>
                    <a:pt x="291" y="191"/>
                    <a:pt x="290" y="190"/>
                    <a:pt x="290" y="190"/>
                  </a:cubicBezTo>
                  <a:cubicBezTo>
                    <a:pt x="283" y="189"/>
                    <a:pt x="278" y="184"/>
                    <a:pt x="279" y="180"/>
                  </a:cubicBezTo>
                  <a:cubicBezTo>
                    <a:pt x="280" y="176"/>
                    <a:pt x="286" y="173"/>
                    <a:pt x="293" y="175"/>
                  </a:cubicBezTo>
                  <a:cubicBezTo>
                    <a:pt x="294" y="175"/>
                    <a:pt x="294" y="175"/>
                    <a:pt x="294" y="175"/>
                  </a:cubicBezTo>
                  <a:cubicBezTo>
                    <a:pt x="295" y="173"/>
                    <a:pt x="295" y="170"/>
                    <a:pt x="296" y="168"/>
                  </a:cubicBezTo>
                  <a:cubicBezTo>
                    <a:pt x="295" y="168"/>
                    <a:pt x="295" y="168"/>
                    <a:pt x="294" y="167"/>
                  </a:cubicBezTo>
                  <a:cubicBezTo>
                    <a:pt x="287" y="167"/>
                    <a:pt x="282" y="163"/>
                    <a:pt x="282" y="159"/>
                  </a:cubicBezTo>
                  <a:cubicBezTo>
                    <a:pt x="282" y="155"/>
                    <a:pt x="288" y="151"/>
                    <a:pt x="295" y="152"/>
                  </a:cubicBezTo>
                  <a:cubicBezTo>
                    <a:pt x="296" y="152"/>
                    <a:pt x="296" y="152"/>
                    <a:pt x="297" y="152"/>
                  </a:cubicBezTo>
                  <a:cubicBezTo>
                    <a:pt x="297" y="149"/>
                    <a:pt x="297" y="147"/>
                    <a:pt x="297" y="144"/>
                  </a:cubicBezTo>
                  <a:cubicBezTo>
                    <a:pt x="296" y="144"/>
                    <a:pt x="296" y="144"/>
                    <a:pt x="295" y="144"/>
                  </a:cubicBezTo>
                  <a:cubicBezTo>
                    <a:pt x="288" y="145"/>
                    <a:pt x="282" y="142"/>
                    <a:pt x="282" y="138"/>
                  </a:cubicBezTo>
                  <a:cubicBezTo>
                    <a:pt x="281" y="133"/>
                    <a:pt x="286" y="129"/>
                    <a:pt x="293" y="128"/>
                  </a:cubicBezTo>
                  <a:cubicBezTo>
                    <a:pt x="294" y="128"/>
                    <a:pt x="295" y="128"/>
                    <a:pt x="295" y="128"/>
                  </a:cubicBezTo>
                  <a:cubicBezTo>
                    <a:pt x="295" y="126"/>
                    <a:pt x="295" y="123"/>
                    <a:pt x="294" y="120"/>
                  </a:cubicBezTo>
                  <a:cubicBezTo>
                    <a:pt x="294" y="121"/>
                    <a:pt x="293" y="121"/>
                    <a:pt x="292" y="121"/>
                  </a:cubicBezTo>
                  <a:cubicBezTo>
                    <a:pt x="286" y="123"/>
                    <a:pt x="279" y="121"/>
                    <a:pt x="278" y="117"/>
                  </a:cubicBezTo>
                  <a:cubicBezTo>
                    <a:pt x="277" y="113"/>
                    <a:pt x="281" y="108"/>
                    <a:pt x="288" y="106"/>
                  </a:cubicBezTo>
                  <a:cubicBezTo>
                    <a:pt x="289" y="106"/>
                    <a:pt x="290" y="105"/>
                    <a:pt x="290" y="105"/>
                  </a:cubicBezTo>
                  <a:cubicBezTo>
                    <a:pt x="289" y="103"/>
                    <a:pt x="289" y="100"/>
                    <a:pt x="288" y="98"/>
                  </a:cubicBezTo>
                  <a:cubicBezTo>
                    <a:pt x="287" y="98"/>
                    <a:pt x="287" y="98"/>
                    <a:pt x="286" y="99"/>
                  </a:cubicBezTo>
                  <a:cubicBezTo>
                    <a:pt x="280" y="101"/>
                    <a:pt x="273" y="101"/>
                    <a:pt x="271" y="97"/>
                  </a:cubicBezTo>
                  <a:cubicBezTo>
                    <a:pt x="269" y="93"/>
                    <a:pt x="273" y="87"/>
                    <a:pt x="279" y="84"/>
                  </a:cubicBezTo>
                  <a:cubicBezTo>
                    <a:pt x="280" y="84"/>
                    <a:pt x="281" y="84"/>
                    <a:pt x="282" y="83"/>
                  </a:cubicBezTo>
                  <a:cubicBezTo>
                    <a:pt x="280" y="81"/>
                    <a:pt x="279" y="79"/>
                    <a:pt x="278" y="76"/>
                  </a:cubicBezTo>
                  <a:cubicBezTo>
                    <a:pt x="277" y="77"/>
                    <a:pt x="277" y="77"/>
                    <a:pt x="276" y="77"/>
                  </a:cubicBezTo>
                  <a:cubicBezTo>
                    <a:pt x="270" y="81"/>
                    <a:pt x="264" y="81"/>
                    <a:pt x="261" y="78"/>
                  </a:cubicBezTo>
                  <a:cubicBezTo>
                    <a:pt x="259" y="74"/>
                    <a:pt x="262" y="68"/>
                    <a:pt x="267" y="64"/>
                  </a:cubicBezTo>
                  <a:cubicBezTo>
                    <a:pt x="268" y="64"/>
                    <a:pt x="269" y="63"/>
                    <a:pt x="269" y="63"/>
                  </a:cubicBezTo>
                  <a:cubicBezTo>
                    <a:pt x="268" y="61"/>
                    <a:pt x="266" y="59"/>
                    <a:pt x="265" y="57"/>
                  </a:cubicBezTo>
                  <a:cubicBezTo>
                    <a:pt x="264" y="57"/>
                    <a:pt x="264" y="58"/>
                    <a:pt x="263" y="58"/>
                  </a:cubicBezTo>
                  <a:cubicBezTo>
                    <a:pt x="258" y="63"/>
                    <a:pt x="251" y="64"/>
                    <a:pt x="248" y="61"/>
                  </a:cubicBezTo>
                  <a:cubicBezTo>
                    <a:pt x="245" y="58"/>
                    <a:pt x="247" y="51"/>
                    <a:pt x="252" y="46"/>
                  </a:cubicBezTo>
                  <a:cubicBezTo>
                    <a:pt x="253" y="46"/>
                    <a:pt x="254" y="45"/>
                    <a:pt x="254" y="45"/>
                  </a:cubicBezTo>
                  <a:cubicBezTo>
                    <a:pt x="252" y="43"/>
                    <a:pt x="250" y="41"/>
                    <a:pt x="248" y="39"/>
                  </a:cubicBezTo>
                  <a:cubicBezTo>
                    <a:pt x="248" y="40"/>
                    <a:pt x="248" y="40"/>
                    <a:pt x="247" y="41"/>
                  </a:cubicBezTo>
                  <a:cubicBezTo>
                    <a:pt x="243" y="46"/>
                    <a:pt x="237" y="49"/>
                    <a:pt x="233" y="46"/>
                  </a:cubicBezTo>
                  <a:cubicBezTo>
                    <a:pt x="230" y="43"/>
                    <a:pt x="230" y="37"/>
                    <a:pt x="235" y="31"/>
                  </a:cubicBezTo>
                  <a:cubicBezTo>
                    <a:pt x="235" y="30"/>
                    <a:pt x="236" y="30"/>
                    <a:pt x="236" y="29"/>
                  </a:cubicBezTo>
                  <a:cubicBezTo>
                    <a:pt x="234" y="28"/>
                    <a:pt x="232" y="26"/>
                    <a:pt x="230" y="25"/>
                  </a:cubicBezTo>
                  <a:cubicBezTo>
                    <a:pt x="230" y="25"/>
                    <a:pt x="229" y="26"/>
                    <a:pt x="229" y="27"/>
                  </a:cubicBezTo>
                  <a:cubicBezTo>
                    <a:pt x="225" y="33"/>
                    <a:pt x="220" y="36"/>
                    <a:pt x="216" y="34"/>
                  </a:cubicBezTo>
                  <a:cubicBezTo>
                    <a:pt x="212" y="32"/>
                    <a:pt x="212" y="25"/>
                    <a:pt x="215" y="19"/>
                  </a:cubicBezTo>
                  <a:cubicBezTo>
                    <a:pt x="215" y="18"/>
                    <a:pt x="216" y="17"/>
                    <a:pt x="216" y="17"/>
                  </a:cubicBezTo>
                  <a:cubicBezTo>
                    <a:pt x="214" y="16"/>
                    <a:pt x="211" y="14"/>
                    <a:pt x="209" y="13"/>
                  </a:cubicBezTo>
                  <a:cubicBezTo>
                    <a:pt x="209" y="14"/>
                    <a:pt x="209" y="15"/>
                    <a:pt x="208" y="15"/>
                  </a:cubicBezTo>
                  <a:cubicBezTo>
                    <a:pt x="206" y="22"/>
                    <a:pt x="201" y="26"/>
                    <a:pt x="197" y="24"/>
                  </a:cubicBezTo>
                  <a:cubicBezTo>
                    <a:pt x="192" y="23"/>
                    <a:pt x="191" y="16"/>
                    <a:pt x="194" y="10"/>
                  </a:cubicBezTo>
                  <a:cubicBezTo>
                    <a:pt x="194" y="9"/>
                    <a:pt x="194" y="8"/>
                    <a:pt x="194" y="8"/>
                  </a:cubicBezTo>
                  <a:cubicBezTo>
                    <a:pt x="192" y="7"/>
                    <a:pt x="189" y="6"/>
                    <a:pt x="187" y="5"/>
                  </a:cubicBezTo>
                  <a:cubicBezTo>
                    <a:pt x="187" y="6"/>
                    <a:pt x="187" y="7"/>
                    <a:pt x="187" y="7"/>
                  </a:cubicBezTo>
                  <a:cubicBezTo>
                    <a:pt x="185" y="14"/>
                    <a:pt x="181" y="19"/>
                    <a:pt x="176" y="18"/>
                  </a:cubicBezTo>
                  <a:cubicBezTo>
                    <a:pt x="172" y="17"/>
                    <a:pt x="170" y="11"/>
                    <a:pt x="171" y="4"/>
                  </a:cubicBezTo>
                  <a:cubicBezTo>
                    <a:pt x="171" y="3"/>
                    <a:pt x="171" y="3"/>
                    <a:pt x="171" y="2"/>
                  </a:cubicBezTo>
                  <a:cubicBezTo>
                    <a:pt x="169" y="2"/>
                    <a:pt x="166" y="2"/>
                    <a:pt x="164" y="1"/>
                  </a:cubicBezTo>
                  <a:cubicBezTo>
                    <a:pt x="164" y="2"/>
                    <a:pt x="164" y="2"/>
                    <a:pt x="164" y="3"/>
                  </a:cubicBezTo>
                  <a:cubicBezTo>
                    <a:pt x="163" y="10"/>
                    <a:pt x="160" y="15"/>
                    <a:pt x="155" y="15"/>
                  </a:cubicBezTo>
                  <a:cubicBezTo>
                    <a:pt x="151" y="15"/>
                    <a:pt x="148" y="9"/>
                    <a:pt x="148" y="2"/>
                  </a:cubicBezTo>
                  <a:cubicBezTo>
                    <a:pt x="148" y="1"/>
                    <a:pt x="148" y="1"/>
                    <a:pt x="148" y="0"/>
                  </a:cubicBezTo>
                  <a:cubicBezTo>
                    <a:pt x="145" y="0"/>
                    <a:pt x="143" y="1"/>
                    <a:pt x="140" y="1"/>
                  </a:cubicBezTo>
                  <a:cubicBezTo>
                    <a:pt x="140" y="1"/>
                    <a:pt x="140" y="1"/>
                    <a:pt x="140" y="2"/>
                  </a:cubicBezTo>
                  <a:cubicBezTo>
                    <a:pt x="141" y="9"/>
                    <a:pt x="138" y="15"/>
                    <a:pt x="134" y="15"/>
                  </a:cubicBezTo>
                  <a:cubicBezTo>
                    <a:pt x="130" y="16"/>
                    <a:pt x="125" y="11"/>
                    <a:pt x="125" y="4"/>
                  </a:cubicBezTo>
                  <a:cubicBezTo>
                    <a:pt x="125" y="3"/>
                    <a:pt x="125" y="3"/>
                    <a:pt x="124" y="2"/>
                  </a:cubicBezTo>
                  <a:cubicBezTo>
                    <a:pt x="122" y="3"/>
                    <a:pt x="119" y="3"/>
                    <a:pt x="117" y="4"/>
                  </a:cubicBezTo>
                  <a:cubicBezTo>
                    <a:pt x="117" y="4"/>
                    <a:pt x="117" y="4"/>
                    <a:pt x="117" y="5"/>
                  </a:cubicBezTo>
                  <a:cubicBezTo>
                    <a:pt x="119" y="11"/>
                    <a:pt x="117" y="18"/>
                    <a:pt x="113" y="19"/>
                  </a:cubicBezTo>
                  <a:cubicBezTo>
                    <a:pt x="109" y="20"/>
                    <a:pt x="104" y="16"/>
                    <a:pt x="102" y="9"/>
                  </a:cubicBezTo>
                  <a:cubicBezTo>
                    <a:pt x="102" y="9"/>
                    <a:pt x="102" y="8"/>
                    <a:pt x="102" y="8"/>
                  </a:cubicBezTo>
                  <a:cubicBezTo>
                    <a:pt x="99" y="9"/>
                    <a:pt x="97" y="10"/>
                    <a:pt x="94" y="11"/>
                  </a:cubicBezTo>
                  <a:cubicBezTo>
                    <a:pt x="95" y="11"/>
                    <a:pt x="95" y="11"/>
                    <a:pt x="95" y="11"/>
                  </a:cubicBezTo>
                  <a:cubicBezTo>
                    <a:pt x="98" y="17"/>
                    <a:pt x="97" y="24"/>
                    <a:pt x="93" y="26"/>
                  </a:cubicBezTo>
                  <a:cubicBezTo>
                    <a:pt x="89" y="28"/>
                    <a:pt x="83" y="24"/>
                    <a:pt x="80" y="18"/>
                  </a:cubicBezTo>
                  <a:cubicBezTo>
                    <a:pt x="80" y="17"/>
                    <a:pt x="80" y="17"/>
                    <a:pt x="80" y="17"/>
                  </a:cubicBezTo>
                  <a:cubicBezTo>
                    <a:pt x="78" y="18"/>
                    <a:pt x="76" y="19"/>
                    <a:pt x="73" y="21"/>
                  </a:cubicBezTo>
                  <a:cubicBezTo>
                    <a:pt x="73" y="21"/>
                    <a:pt x="74" y="21"/>
                    <a:pt x="74" y="21"/>
                  </a:cubicBezTo>
                  <a:cubicBezTo>
                    <a:pt x="77" y="27"/>
                    <a:pt x="78" y="33"/>
                    <a:pt x="74" y="36"/>
                  </a:cubicBezTo>
                  <a:cubicBezTo>
                    <a:pt x="70" y="38"/>
                    <a:pt x="64" y="35"/>
                    <a:pt x="60" y="30"/>
                  </a:cubicBezTo>
                  <a:cubicBezTo>
                    <a:pt x="60" y="30"/>
                    <a:pt x="60" y="30"/>
                    <a:pt x="60" y="29"/>
                  </a:cubicBezTo>
                  <a:cubicBezTo>
                    <a:pt x="58" y="31"/>
                    <a:pt x="56" y="32"/>
                    <a:pt x="54" y="34"/>
                  </a:cubicBezTo>
                  <a:cubicBezTo>
                    <a:pt x="59" y="39"/>
                    <a:pt x="60" y="46"/>
                    <a:pt x="57" y="49"/>
                  </a:cubicBezTo>
                  <a:close/>
                  <a:moveTo>
                    <a:pt x="52" y="228"/>
                  </a:moveTo>
                  <a:cubicBezTo>
                    <a:pt x="26" y="196"/>
                    <a:pt x="18" y="156"/>
                    <a:pt x="28" y="118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58" y="160"/>
                    <a:pt x="64" y="184"/>
                    <a:pt x="79" y="203"/>
                  </a:cubicBezTo>
                  <a:lnTo>
                    <a:pt x="52" y="228"/>
                  </a:lnTo>
                  <a:close/>
                  <a:moveTo>
                    <a:pt x="102" y="98"/>
                  </a:moveTo>
                  <a:cubicBezTo>
                    <a:pt x="127" y="75"/>
                    <a:pt x="165" y="74"/>
                    <a:pt x="191" y="94"/>
                  </a:cubicBezTo>
                  <a:cubicBezTo>
                    <a:pt x="139" y="126"/>
                    <a:pt x="139" y="126"/>
                    <a:pt x="139" y="126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9" y="112"/>
                    <a:pt x="95" y="104"/>
                    <a:pt x="102" y="98"/>
                  </a:cubicBezTo>
                  <a:close/>
                  <a:moveTo>
                    <a:pt x="97" y="196"/>
                  </a:moveTo>
                  <a:cubicBezTo>
                    <a:pt x="84" y="182"/>
                    <a:pt x="79" y="164"/>
                    <a:pt x="79" y="146"/>
                  </a:cubicBezTo>
                  <a:cubicBezTo>
                    <a:pt x="124" y="171"/>
                    <a:pt x="124" y="171"/>
                    <a:pt x="124" y="171"/>
                  </a:cubicBezTo>
                  <a:cubicBezTo>
                    <a:pt x="145" y="218"/>
                    <a:pt x="145" y="218"/>
                    <a:pt x="145" y="218"/>
                  </a:cubicBezTo>
                  <a:cubicBezTo>
                    <a:pt x="127" y="217"/>
                    <a:pt x="110" y="210"/>
                    <a:pt x="97" y="196"/>
                  </a:cubicBezTo>
                  <a:close/>
                  <a:moveTo>
                    <a:pt x="170" y="161"/>
                  </a:moveTo>
                  <a:cubicBezTo>
                    <a:pt x="207" y="112"/>
                    <a:pt x="207" y="112"/>
                    <a:pt x="207" y="112"/>
                  </a:cubicBezTo>
                  <a:cubicBezTo>
                    <a:pt x="225" y="140"/>
                    <a:pt x="220" y="177"/>
                    <a:pt x="195" y="200"/>
                  </a:cubicBezTo>
                  <a:cubicBezTo>
                    <a:pt x="188" y="207"/>
                    <a:pt x="180" y="211"/>
                    <a:pt x="172" y="214"/>
                  </a:cubicBezTo>
                  <a:lnTo>
                    <a:pt x="170" y="161"/>
                  </a:lnTo>
                  <a:close/>
                  <a:moveTo>
                    <a:pt x="61" y="238"/>
                  </a:moveTo>
                  <a:cubicBezTo>
                    <a:pt x="88" y="213"/>
                    <a:pt x="88" y="213"/>
                    <a:pt x="88" y="213"/>
                  </a:cubicBezTo>
                  <a:cubicBezTo>
                    <a:pt x="106" y="230"/>
                    <a:pt x="130" y="238"/>
                    <a:pt x="153" y="237"/>
                  </a:cubicBezTo>
                  <a:cubicBezTo>
                    <a:pt x="168" y="272"/>
                    <a:pt x="168" y="272"/>
                    <a:pt x="168" y="272"/>
                  </a:cubicBezTo>
                  <a:cubicBezTo>
                    <a:pt x="130" y="278"/>
                    <a:pt x="90" y="266"/>
                    <a:pt x="61" y="238"/>
                  </a:cubicBezTo>
                  <a:close/>
                  <a:moveTo>
                    <a:pt x="265" y="193"/>
                  </a:moveTo>
                  <a:cubicBezTo>
                    <a:pt x="258" y="211"/>
                    <a:pt x="248" y="227"/>
                    <a:pt x="233" y="241"/>
                  </a:cubicBezTo>
                  <a:cubicBezTo>
                    <a:pt x="215" y="257"/>
                    <a:pt x="195" y="267"/>
                    <a:pt x="173" y="271"/>
                  </a:cubicBezTo>
                  <a:cubicBezTo>
                    <a:pt x="172" y="234"/>
                    <a:pt x="172" y="234"/>
                    <a:pt x="172" y="234"/>
                  </a:cubicBezTo>
                  <a:cubicBezTo>
                    <a:pt x="185" y="230"/>
                    <a:pt x="197" y="224"/>
                    <a:pt x="208" y="214"/>
                  </a:cubicBezTo>
                  <a:cubicBezTo>
                    <a:pt x="218" y="205"/>
                    <a:pt x="225" y="194"/>
                    <a:pt x="230" y="182"/>
                  </a:cubicBezTo>
                  <a:lnTo>
                    <a:pt x="265" y="193"/>
                  </a:lnTo>
                  <a:close/>
                  <a:moveTo>
                    <a:pt x="269" y="180"/>
                  </a:moveTo>
                  <a:cubicBezTo>
                    <a:pt x="234" y="169"/>
                    <a:pt x="234" y="169"/>
                    <a:pt x="234" y="169"/>
                  </a:cubicBezTo>
                  <a:cubicBezTo>
                    <a:pt x="240" y="144"/>
                    <a:pt x="235" y="117"/>
                    <a:pt x="219" y="96"/>
                  </a:cubicBezTo>
                  <a:cubicBezTo>
                    <a:pt x="241" y="66"/>
                    <a:pt x="241" y="66"/>
                    <a:pt x="241" y="66"/>
                  </a:cubicBezTo>
                  <a:cubicBezTo>
                    <a:pt x="270" y="98"/>
                    <a:pt x="279" y="141"/>
                    <a:pt x="269" y="180"/>
                  </a:cubicBezTo>
                  <a:close/>
                  <a:moveTo>
                    <a:pt x="157" y="159"/>
                  </a:moveTo>
                  <a:cubicBezTo>
                    <a:pt x="152" y="163"/>
                    <a:pt x="144" y="163"/>
                    <a:pt x="139" y="158"/>
                  </a:cubicBezTo>
                  <a:cubicBezTo>
                    <a:pt x="134" y="152"/>
                    <a:pt x="134" y="144"/>
                    <a:pt x="140" y="139"/>
                  </a:cubicBezTo>
                  <a:cubicBezTo>
                    <a:pt x="145" y="134"/>
                    <a:pt x="153" y="135"/>
                    <a:pt x="158" y="140"/>
                  </a:cubicBezTo>
                  <a:cubicBezTo>
                    <a:pt x="163" y="145"/>
                    <a:pt x="163" y="154"/>
                    <a:pt x="157" y="159"/>
                  </a:cubicBezTo>
                  <a:close/>
                  <a:moveTo>
                    <a:pt x="240" y="64"/>
                  </a:moveTo>
                  <a:cubicBezTo>
                    <a:pt x="208" y="84"/>
                    <a:pt x="208" y="84"/>
                    <a:pt x="208" y="84"/>
                  </a:cubicBezTo>
                  <a:cubicBezTo>
                    <a:pt x="188" y="66"/>
                    <a:pt x="161" y="58"/>
                    <a:pt x="136" y="62"/>
                  </a:cubicBezTo>
                  <a:cubicBezTo>
                    <a:pt x="128" y="26"/>
                    <a:pt x="128" y="26"/>
                    <a:pt x="128" y="26"/>
                  </a:cubicBezTo>
                  <a:cubicBezTo>
                    <a:pt x="168" y="19"/>
                    <a:pt x="210" y="32"/>
                    <a:pt x="240" y="64"/>
                  </a:cubicBezTo>
                  <a:close/>
                  <a:moveTo>
                    <a:pt x="115" y="29"/>
                  </a:moveTo>
                  <a:cubicBezTo>
                    <a:pt x="123" y="65"/>
                    <a:pt x="123" y="65"/>
                    <a:pt x="123" y="65"/>
                  </a:cubicBezTo>
                  <a:cubicBezTo>
                    <a:pt x="111" y="68"/>
                    <a:pt x="99" y="75"/>
                    <a:pt x="89" y="84"/>
                  </a:cubicBezTo>
                  <a:cubicBezTo>
                    <a:pt x="79" y="93"/>
                    <a:pt x="71" y="105"/>
                    <a:pt x="66" y="118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35" y="92"/>
                    <a:pt x="47" y="73"/>
                    <a:pt x="64" y="57"/>
                  </a:cubicBezTo>
                  <a:cubicBezTo>
                    <a:pt x="79" y="43"/>
                    <a:pt x="97" y="34"/>
                    <a:pt x="115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IN" sz="1798" kern="0">
                <a:solidFill>
                  <a:srgbClr val="FFFFFF"/>
                </a:solidFill>
              </a:endParaRPr>
            </a:p>
          </p:txBody>
        </p:sp>
        <p:sp>
          <p:nvSpPr>
            <p:cNvPr id="24" name="Freeform 36"/>
            <p:cNvSpPr>
              <a:spLocks noEditPoints="1"/>
            </p:cNvSpPr>
            <p:nvPr/>
          </p:nvSpPr>
          <p:spPr bwMode="auto">
            <a:xfrm>
              <a:off x="3490" y="1809"/>
              <a:ext cx="708" cy="707"/>
            </a:xfrm>
            <a:custGeom>
              <a:avLst/>
              <a:gdLst>
                <a:gd name="T0" fmla="*/ 123 w 297"/>
                <a:gd name="T1" fmla="*/ 292 h 297"/>
                <a:gd name="T2" fmla="*/ 145 w 297"/>
                <a:gd name="T3" fmla="*/ 295 h 297"/>
                <a:gd name="T4" fmla="*/ 297 w 297"/>
                <a:gd name="T5" fmla="*/ 152 h 297"/>
                <a:gd name="T6" fmla="*/ 294 w 297"/>
                <a:gd name="T7" fmla="*/ 152 h 297"/>
                <a:gd name="T8" fmla="*/ 294 w 297"/>
                <a:gd name="T9" fmla="*/ 120 h 297"/>
                <a:gd name="T10" fmla="*/ 293 w 297"/>
                <a:gd name="T11" fmla="*/ 128 h 297"/>
                <a:gd name="T12" fmla="*/ 286 w 297"/>
                <a:gd name="T13" fmla="*/ 99 h 297"/>
                <a:gd name="T14" fmla="*/ 107 w 297"/>
                <a:gd name="T15" fmla="*/ 291 h 297"/>
                <a:gd name="T16" fmla="*/ 107 w 297"/>
                <a:gd name="T17" fmla="*/ 291 h 297"/>
                <a:gd name="T18" fmla="*/ 79 w 297"/>
                <a:gd name="T19" fmla="*/ 280 h 297"/>
                <a:gd name="T20" fmla="*/ 61 w 297"/>
                <a:gd name="T21" fmla="*/ 266 h 297"/>
                <a:gd name="T22" fmla="*/ 294 w 297"/>
                <a:gd name="T23" fmla="*/ 175 h 297"/>
                <a:gd name="T24" fmla="*/ 292 w 297"/>
                <a:gd name="T25" fmla="*/ 175 h 297"/>
                <a:gd name="T26" fmla="*/ 278 w 297"/>
                <a:gd name="T27" fmla="*/ 76 h 297"/>
                <a:gd name="T28" fmla="*/ 279 w 297"/>
                <a:gd name="T29" fmla="*/ 84 h 297"/>
                <a:gd name="T30" fmla="*/ 271 w 297"/>
                <a:gd name="T31" fmla="*/ 233 h 297"/>
                <a:gd name="T32" fmla="*/ 28 w 297"/>
                <a:gd name="T33" fmla="*/ 63 h 297"/>
                <a:gd name="T34" fmla="*/ 28 w 297"/>
                <a:gd name="T35" fmla="*/ 63 h 297"/>
                <a:gd name="T36" fmla="*/ 237 w 297"/>
                <a:gd name="T37" fmla="*/ 265 h 297"/>
                <a:gd name="T38" fmla="*/ 168 w 297"/>
                <a:gd name="T39" fmla="*/ 293 h 297"/>
                <a:gd name="T40" fmla="*/ 43 w 297"/>
                <a:gd name="T41" fmla="*/ 45 h 297"/>
                <a:gd name="T42" fmla="*/ 287 w 297"/>
                <a:gd name="T43" fmla="*/ 197 h 297"/>
                <a:gd name="T44" fmla="*/ 288 w 297"/>
                <a:gd name="T45" fmla="*/ 190 h 297"/>
                <a:gd name="T46" fmla="*/ 219 w 297"/>
                <a:gd name="T47" fmla="*/ 279 h 297"/>
                <a:gd name="T48" fmla="*/ 198 w 297"/>
                <a:gd name="T49" fmla="*/ 289 h 297"/>
                <a:gd name="T50" fmla="*/ 198 w 297"/>
                <a:gd name="T51" fmla="*/ 289 h 297"/>
                <a:gd name="T52" fmla="*/ 282 w 297"/>
                <a:gd name="T53" fmla="*/ 212 h 297"/>
                <a:gd name="T54" fmla="*/ 249 w 297"/>
                <a:gd name="T55" fmla="*/ 255 h 297"/>
                <a:gd name="T56" fmla="*/ 249 w 297"/>
                <a:gd name="T57" fmla="*/ 255 h 297"/>
                <a:gd name="T58" fmla="*/ 1 w 297"/>
                <a:gd name="T59" fmla="*/ 134 h 297"/>
                <a:gd name="T60" fmla="*/ 171 w 297"/>
                <a:gd name="T61" fmla="*/ 4 h 297"/>
                <a:gd name="T62" fmla="*/ 164 w 297"/>
                <a:gd name="T63" fmla="*/ 4 h 297"/>
                <a:gd name="T64" fmla="*/ 148 w 297"/>
                <a:gd name="T65" fmla="*/ 0 h 297"/>
                <a:gd name="T66" fmla="*/ 7 w 297"/>
                <a:gd name="T67" fmla="*/ 112 h 297"/>
                <a:gd name="T68" fmla="*/ 7 w 297"/>
                <a:gd name="T69" fmla="*/ 112 h 297"/>
                <a:gd name="T70" fmla="*/ 0 w 297"/>
                <a:gd name="T71" fmla="*/ 157 h 297"/>
                <a:gd name="T72" fmla="*/ 125 w 297"/>
                <a:gd name="T73" fmla="*/ 4 h 297"/>
                <a:gd name="T74" fmla="*/ 118 w 297"/>
                <a:gd name="T75" fmla="*/ 6 h 297"/>
                <a:gd name="T76" fmla="*/ 80 w 297"/>
                <a:gd name="T77" fmla="*/ 17 h 297"/>
                <a:gd name="T78" fmla="*/ 95 w 297"/>
                <a:gd name="T79" fmla="*/ 13 h 297"/>
                <a:gd name="T80" fmla="*/ 94 w 297"/>
                <a:gd name="T81" fmla="*/ 11 h 297"/>
                <a:gd name="T82" fmla="*/ 60 w 297"/>
                <a:gd name="T83" fmla="*/ 30 h 297"/>
                <a:gd name="T84" fmla="*/ 62 w 297"/>
                <a:gd name="T85" fmla="*/ 32 h 297"/>
                <a:gd name="T86" fmla="*/ 13 w 297"/>
                <a:gd name="T87" fmla="*/ 89 h 297"/>
                <a:gd name="T88" fmla="*/ 194 w 297"/>
                <a:gd name="T89" fmla="*/ 10 h 297"/>
                <a:gd name="T90" fmla="*/ 186 w 297"/>
                <a:gd name="T91" fmla="*/ 8 h 297"/>
                <a:gd name="T92" fmla="*/ 236 w 297"/>
                <a:gd name="T93" fmla="*/ 29 h 297"/>
                <a:gd name="T94" fmla="*/ 32 w 297"/>
                <a:gd name="T95" fmla="*/ 241 h 297"/>
                <a:gd name="T96" fmla="*/ 32 w 297"/>
                <a:gd name="T97" fmla="*/ 241 h 297"/>
                <a:gd name="T98" fmla="*/ 3 w 297"/>
                <a:gd name="T99" fmla="*/ 179 h 297"/>
                <a:gd name="T100" fmla="*/ 44 w 297"/>
                <a:gd name="T101" fmla="*/ 251 h 297"/>
                <a:gd name="T102" fmla="*/ 252 w 297"/>
                <a:gd name="T103" fmla="*/ 47 h 297"/>
                <a:gd name="T104" fmla="*/ 247 w 297"/>
                <a:gd name="T105" fmla="*/ 41 h 297"/>
                <a:gd name="T106" fmla="*/ 7 w 297"/>
                <a:gd name="T107" fmla="*/ 194 h 297"/>
                <a:gd name="T108" fmla="*/ 267 w 297"/>
                <a:gd name="T109" fmla="*/ 64 h 297"/>
                <a:gd name="T110" fmla="*/ 263 w 297"/>
                <a:gd name="T111" fmla="*/ 58 h 297"/>
                <a:gd name="T112" fmla="*/ 215 w 297"/>
                <a:gd name="T113" fmla="*/ 19 h 297"/>
                <a:gd name="T114" fmla="*/ 208 w 297"/>
                <a:gd name="T115" fmla="*/ 16 h 297"/>
                <a:gd name="T116" fmla="*/ 19 w 297"/>
                <a:gd name="T117" fmla="*/ 222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7" h="297">
                  <a:moveTo>
                    <a:pt x="122" y="295"/>
                  </a:moveTo>
                  <a:cubicBezTo>
                    <a:pt x="125" y="295"/>
                    <a:pt x="127" y="296"/>
                    <a:pt x="130" y="296"/>
                  </a:cubicBezTo>
                  <a:cubicBezTo>
                    <a:pt x="130" y="295"/>
                    <a:pt x="130" y="294"/>
                    <a:pt x="130" y="294"/>
                  </a:cubicBezTo>
                  <a:cubicBezTo>
                    <a:pt x="128" y="293"/>
                    <a:pt x="125" y="293"/>
                    <a:pt x="123" y="292"/>
                  </a:cubicBezTo>
                  <a:cubicBezTo>
                    <a:pt x="123" y="293"/>
                    <a:pt x="123" y="294"/>
                    <a:pt x="122" y="295"/>
                  </a:cubicBezTo>
                  <a:close/>
                  <a:moveTo>
                    <a:pt x="153" y="297"/>
                  </a:moveTo>
                  <a:cubicBezTo>
                    <a:pt x="153" y="296"/>
                    <a:pt x="153" y="295"/>
                    <a:pt x="153" y="295"/>
                  </a:cubicBezTo>
                  <a:cubicBezTo>
                    <a:pt x="150" y="295"/>
                    <a:pt x="148" y="295"/>
                    <a:pt x="145" y="295"/>
                  </a:cubicBezTo>
                  <a:cubicBezTo>
                    <a:pt x="145" y="295"/>
                    <a:pt x="145" y="296"/>
                    <a:pt x="145" y="297"/>
                  </a:cubicBezTo>
                  <a:cubicBezTo>
                    <a:pt x="148" y="297"/>
                    <a:pt x="150" y="297"/>
                    <a:pt x="153" y="297"/>
                  </a:cubicBezTo>
                  <a:close/>
                  <a:moveTo>
                    <a:pt x="295" y="152"/>
                  </a:moveTo>
                  <a:cubicBezTo>
                    <a:pt x="296" y="152"/>
                    <a:pt x="296" y="152"/>
                    <a:pt x="297" y="152"/>
                  </a:cubicBezTo>
                  <a:cubicBezTo>
                    <a:pt x="297" y="149"/>
                    <a:pt x="297" y="147"/>
                    <a:pt x="297" y="144"/>
                  </a:cubicBezTo>
                  <a:cubicBezTo>
                    <a:pt x="296" y="144"/>
                    <a:pt x="296" y="144"/>
                    <a:pt x="295" y="144"/>
                  </a:cubicBezTo>
                  <a:cubicBezTo>
                    <a:pt x="295" y="144"/>
                    <a:pt x="295" y="144"/>
                    <a:pt x="294" y="144"/>
                  </a:cubicBezTo>
                  <a:cubicBezTo>
                    <a:pt x="294" y="147"/>
                    <a:pt x="294" y="149"/>
                    <a:pt x="294" y="152"/>
                  </a:cubicBezTo>
                  <a:cubicBezTo>
                    <a:pt x="295" y="152"/>
                    <a:pt x="295" y="152"/>
                    <a:pt x="295" y="152"/>
                  </a:cubicBezTo>
                  <a:close/>
                  <a:moveTo>
                    <a:pt x="293" y="128"/>
                  </a:moveTo>
                  <a:cubicBezTo>
                    <a:pt x="294" y="128"/>
                    <a:pt x="295" y="128"/>
                    <a:pt x="295" y="128"/>
                  </a:cubicBezTo>
                  <a:cubicBezTo>
                    <a:pt x="295" y="126"/>
                    <a:pt x="295" y="123"/>
                    <a:pt x="294" y="120"/>
                  </a:cubicBezTo>
                  <a:cubicBezTo>
                    <a:pt x="294" y="121"/>
                    <a:pt x="293" y="121"/>
                    <a:pt x="292" y="121"/>
                  </a:cubicBezTo>
                  <a:cubicBezTo>
                    <a:pt x="292" y="121"/>
                    <a:pt x="292" y="121"/>
                    <a:pt x="292" y="121"/>
                  </a:cubicBezTo>
                  <a:cubicBezTo>
                    <a:pt x="292" y="124"/>
                    <a:pt x="292" y="126"/>
                    <a:pt x="293" y="129"/>
                  </a:cubicBezTo>
                  <a:cubicBezTo>
                    <a:pt x="293" y="128"/>
                    <a:pt x="293" y="128"/>
                    <a:pt x="293" y="128"/>
                  </a:cubicBezTo>
                  <a:close/>
                  <a:moveTo>
                    <a:pt x="288" y="106"/>
                  </a:moveTo>
                  <a:cubicBezTo>
                    <a:pt x="289" y="106"/>
                    <a:pt x="290" y="105"/>
                    <a:pt x="290" y="105"/>
                  </a:cubicBezTo>
                  <a:cubicBezTo>
                    <a:pt x="289" y="103"/>
                    <a:pt x="289" y="100"/>
                    <a:pt x="288" y="98"/>
                  </a:cubicBezTo>
                  <a:cubicBezTo>
                    <a:pt x="287" y="98"/>
                    <a:pt x="287" y="98"/>
                    <a:pt x="286" y="99"/>
                  </a:cubicBezTo>
                  <a:cubicBezTo>
                    <a:pt x="286" y="99"/>
                    <a:pt x="286" y="99"/>
                    <a:pt x="285" y="99"/>
                  </a:cubicBezTo>
                  <a:cubicBezTo>
                    <a:pt x="286" y="101"/>
                    <a:pt x="287" y="103"/>
                    <a:pt x="288" y="106"/>
                  </a:cubicBezTo>
                  <a:cubicBezTo>
                    <a:pt x="288" y="106"/>
                    <a:pt x="288" y="106"/>
                    <a:pt x="288" y="106"/>
                  </a:cubicBezTo>
                  <a:close/>
                  <a:moveTo>
                    <a:pt x="107" y="291"/>
                  </a:moveTo>
                  <a:cubicBezTo>
                    <a:pt x="108" y="291"/>
                    <a:pt x="108" y="290"/>
                    <a:pt x="108" y="289"/>
                  </a:cubicBezTo>
                  <a:cubicBezTo>
                    <a:pt x="106" y="288"/>
                    <a:pt x="103" y="288"/>
                    <a:pt x="101" y="287"/>
                  </a:cubicBezTo>
                  <a:cubicBezTo>
                    <a:pt x="101" y="288"/>
                    <a:pt x="100" y="288"/>
                    <a:pt x="100" y="289"/>
                  </a:cubicBezTo>
                  <a:cubicBezTo>
                    <a:pt x="103" y="290"/>
                    <a:pt x="105" y="291"/>
                    <a:pt x="107" y="291"/>
                  </a:cubicBezTo>
                  <a:close/>
                  <a:moveTo>
                    <a:pt x="86" y="283"/>
                  </a:moveTo>
                  <a:cubicBezTo>
                    <a:pt x="86" y="283"/>
                    <a:pt x="87" y="282"/>
                    <a:pt x="87" y="281"/>
                  </a:cubicBezTo>
                  <a:cubicBezTo>
                    <a:pt x="85" y="280"/>
                    <a:pt x="82" y="279"/>
                    <a:pt x="80" y="278"/>
                  </a:cubicBezTo>
                  <a:cubicBezTo>
                    <a:pt x="80" y="278"/>
                    <a:pt x="79" y="279"/>
                    <a:pt x="79" y="280"/>
                  </a:cubicBezTo>
                  <a:cubicBezTo>
                    <a:pt x="81" y="281"/>
                    <a:pt x="84" y="282"/>
                    <a:pt x="86" y="283"/>
                  </a:cubicBezTo>
                  <a:close/>
                  <a:moveTo>
                    <a:pt x="66" y="272"/>
                  </a:moveTo>
                  <a:cubicBezTo>
                    <a:pt x="66" y="271"/>
                    <a:pt x="67" y="271"/>
                    <a:pt x="68" y="270"/>
                  </a:cubicBezTo>
                  <a:cubicBezTo>
                    <a:pt x="65" y="269"/>
                    <a:pt x="63" y="267"/>
                    <a:pt x="61" y="266"/>
                  </a:cubicBezTo>
                  <a:cubicBezTo>
                    <a:pt x="61" y="266"/>
                    <a:pt x="60" y="267"/>
                    <a:pt x="60" y="268"/>
                  </a:cubicBezTo>
                  <a:cubicBezTo>
                    <a:pt x="62" y="269"/>
                    <a:pt x="64" y="271"/>
                    <a:pt x="66" y="272"/>
                  </a:cubicBezTo>
                  <a:close/>
                  <a:moveTo>
                    <a:pt x="293" y="175"/>
                  </a:moveTo>
                  <a:cubicBezTo>
                    <a:pt x="294" y="175"/>
                    <a:pt x="294" y="175"/>
                    <a:pt x="294" y="175"/>
                  </a:cubicBezTo>
                  <a:cubicBezTo>
                    <a:pt x="295" y="173"/>
                    <a:pt x="295" y="170"/>
                    <a:pt x="296" y="168"/>
                  </a:cubicBezTo>
                  <a:cubicBezTo>
                    <a:pt x="295" y="168"/>
                    <a:pt x="295" y="168"/>
                    <a:pt x="294" y="167"/>
                  </a:cubicBezTo>
                  <a:cubicBezTo>
                    <a:pt x="294" y="167"/>
                    <a:pt x="293" y="167"/>
                    <a:pt x="293" y="167"/>
                  </a:cubicBezTo>
                  <a:cubicBezTo>
                    <a:pt x="293" y="170"/>
                    <a:pt x="292" y="172"/>
                    <a:pt x="292" y="175"/>
                  </a:cubicBezTo>
                  <a:cubicBezTo>
                    <a:pt x="292" y="175"/>
                    <a:pt x="293" y="175"/>
                    <a:pt x="293" y="175"/>
                  </a:cubicBezTo>
                  <a:close/>
                  <a:moveTo>
                    <a:pt x="279" y="84"/>
                  </a:moveTo>
                  <a:cubicBezTo>
                    <a:pt x="280" y="84"/>
                    <a:pt x="281" y="84"/>
                    <a:pt x="282" y="83"/>
                  </a:cubicBezTo>
                  <a:cubicBezTo>
                    <a:pt x="280" y="81"/>
                    <a:pt x="279" y="79"/>
                    <a:pt x="278" y="76"/>
                  </a:cubicBezTo>
                  <a:cubicBezTo>
                    <a:pt x="277" y="77"/>
                    <a:pt x="277" y="77"/>
                    <a:pt x="276" y="77"/>
                  </a:cubicBezTo>
                  <a:cubicBezTo>
                    <a:pt x="276" y="77"/>
                    <a:pt x="276" y="78"/>
                    <a:pt x="276" y="78"/>
                  </a:cubicBezTo>
                  <a:cubicBezTo>
                    <a:pt x="277" y="80"/>
                    <a:pt x="278" y="82"/>
                    <a:pt x="279" y="84"/>
                  </a:cubicBezTo>
                  <a:cubicBezTo>
                    <a:pt x="279" y="84"/>
                    <a:pt x="279" y="84"/>
                    <a:pt x="279" y="84"/>
                  </a:cubicBezTo>
                  <a:close/>
                  <a:moveTo>
                    <a:pt x="266" y="239"/>
                  </a:moveTo>
                  <a:cubicBezTo>
                    <a:pt x="266" y="239"/>
                    <a:pt x="266" y="239"/>
                    <a:pt x="266" y="239"/>
                  </a:cubicBezTo>
                  <a:cubicBezTo>
                    <a:pt x="268" y="237"/>
                    <a:pt x="269" y="235"/>
                    <a:pt x="271" y="233"/>
                  </a:cubicBezTo>
                  <a:cubicBezTo>
                    <a:pt x="271" y="233"/>
                    <a:pt x="271" y="233"/>
                    <a:pt x="271" y="233"/>
                  </a:cubicBezTo>
                  <a:cubicBezTo>
                    <a:pt x="270" y="232"/>
                    <a:pt x="269" y="232"/>
                    <a:pt x="269" y="231"/>
                  </a:cubicBezTo>
                  <a:cubicBezTo>
                    <a:pt x="267" y="234"/>
                    <a:pt x="266" y="236"/>
                    <a:pt x="264" y="237"/>
                  </a:cubicBezTo>
                  <a:cubicBezTo>
                    <a:pt x="265" y="238"/>
                    <a:pt x="265" y="238"/>
                    <a:pt x="266" y="239"/>
                  </a:cubicBezTo>
                  <a:close/>
                  <a:moveTo>
                    <a:pt x="28" y="63"/>
                  </a:moveTo>
                  <a:cubicBezTo>
                    <a:pt x="26" y="65"/>
                    <a:pt x="25" y="67"/>
                    <a:pt x="23" y="69"/>
                  </a:cubicBezTo>
                  <a:cubicBezTo>
                    <a:pt x="24" y="69"/>
                    <a:pt x="25" y="70"/>
                    <a:pt x="26" y="70"/>
                  </a:cubicBezTo>
                  <a:cubicBezTo>
                    <a:pt x="27" y="68"/>
                    <a:pt x="28" y="66"/>
                    <a:pt x="30" y="64"/>
                  </a:cubicBezTo>
                  <a:cubicBezTo>
                    <a:pt x="29" y="64"/>
                    <a:pt x="28" y="63"/>
                    <a:pt x="28" y="63"/>
                  </a:cubicBezTo>
                  <a:close/>
                  <a:moveTo>
                    <a:pt x="231" y="269"/>
                  </a:moveTo>
                  <a:cubicBezTo>
                    <a:pt x="232" y="270"/>
                    <a:pt x="232" y="270"/>
                    <a:pt x="233" y="271"/>
                  </a:cubicBezTo>
                  <a:cubicBezTo>
                    <a:pt x="235" y="270"/>
                    <a:pt x="237" y="268"/>
                    <a:pt x="239" y="267"/>
                  </a:cubicBezTo>
                  <a:cubicBezTo>
                    <a:pt x="238" y="266"/>
                    <a:pt x="238" y="265"/>
                    <a:pt x="237" y="265"/>
                  </a:cubicBezTo>
                  <a:cubicBezTo>
                    <a:pt x="235" y="266"/>
                    <a:pt x="233" y="268"/>
                    <a:pt x="231" y="269"/>
                  </a:cubicBezTo>
                  <a:close/>
                  <a:moveTo>
                    <a:pt x="176" y="295"/>
                  </a:moveTo>
                  <a:cubicBezTo>
                    <a:pt x="176" y="294"/>
                    <a:pt x="175" y="293"/>
                    <a:pt x="175" y="292"/>
                  </a:cubicBezTo>
                  <a:cubicBezTo>
                    <a:pt x="173" y="293"/>
                    <a:pt x="170" y="293"/>
                    <a:pt x="168" y="293"/>
                  </a:cubicBezTo>
                  <a:cubicBezTo>
                    <a:pt x="168" y="294"/>
                    <a:pt x="168" y="295"/>
                    <a:pt x="168" y="296"/>
                  </a:cubicBezTo>
                  <a:cubicBezTo>
                    <a:pt x="171" y="296"/>
                    <a:pt x="173" y="295"/>
                    <a:pt x="176" y="295"/>
                  </a:cubicBezTo>
                  <a:close/>
                  <a:moveTo>
                    <a:pt x="45" y="47"/>
                  </a:moveTo>
                  <a:cubicBezTo>
                    <a:pt x="44" y="46"/>
                    <a:pt x="43" y="45"/>
                    <a:pt x="43" y="45"/>
                  </a:cubicBezTo>
                  <a:cubicBezTo>
                    <a:pt x="41" y="47"/>
                    <a:pt x="39" y="48"/>
                    <a:pt x="38" y="50"/>
                  </a:cubicBezTo>
                  <a:cubicBezTo>
                    <a:pt x="38" y="51"/>
                    <a:pt x="39" y="51"/>
                    <a:pt x="39" y="52"/>
                  </a:cubicBezTo>
                  <a:cubicBezTo>
                    <a:pt x="41" y="50"/>
                    <a:pt x="43" y="48"/>
                    <a:pt x="45" y="47"/>
                  </a:cubicBezTo>
                  <a:close/>
                  <a:moveTo>
                    <a:pt x="287" y="197"/>
                  </a:moveTo>
                  <a:cubicBezTo>
                    <a:pt x="288" y="198"/>
                    <a:pt x="288" y="198"/>
                    <a:pt x="288" y="198"/>
                  </a:cubicBezTo>
                  <a:cubicBezTo>
                    <a:pt x="289" y="195"/>
                    <a:pt x="290" y="193"/>
                    <a:pt x="291" y="191"/>
                  </a:cubicBezTo>
                  <a:cubicBezTo>
                    <a:pt x="291" y="191"/>
                    <a:pt x="290" y="190"/>
                    <a:pt x="290" y="190"/>
                  </a:cubicBezTo>
                  <a:cubicBezTo>
                    <a:pt x="289" y="190"/>
                    <a:pt x="289" y="190"/>
                    <a:pt x="288" y="190"/>
                  </a:cubicBezTo>
                  <a:cubicBezTo>
                    <a:pt x="288" y="192"/>
                    <a:pt x="287" y="195"/>
                    <a:pt x="286" y="197"/>
                  </a:cubicBezTo>
                  <a:cubicBezTo>
                    <a:pt x="287" y="197"/>
                    <a:pt x="287" y="197"/>
                    <a:pt x="287" y="197"/>
                  </a:cubicBezTo>
                  <a:close/>
                  <a:moveTo>
                    <a:pt x="213" y="283"/>
                  </a:moveTo>
                  <a:cubicBezTo>
                    <a:pt x="215" y="282"/>
                    <a:pt x="217" y="280"/>
                    <a:pt x="219" y="279"/>
                  </a:cubicBezTo>
                  <a:cubicBezTo>
                    <a:pt x="219" y="279"/>
                    <a:pt x="218" y="278"/>
                    <a:pt x="218" y="277"/>
                  </a:cubicBezTo>
                  <a:cubicBezTo>
                    <a:pt x="216" y="278"/>
                    <a:pt x="214" y="279"/>
                    <a:pt x="211" y="280"/>
                  </a:cubicBezTo>
                  <a:cubicBezTo>
                    <a:pt x="212" y="281"/>
                    <a:pt x="212" y="282"/>
                    <a:pt x="213" y="283"/>
                  </a:cubicBezTo>
                  <a:close/>
                  <a:moveTo>
                    <a:pt x="198" y="289"/>
                  </a:moveTo>
                  <a:cubicBezTo>
                    <a:pt x="198" y="288"/>
                    <a:pt x="197" y="287"/>
                    <a:pt x="197" y="286"/>
                  </a:cubicBezTo>
                  <a:cubicBezTo>
                    <a:pt x="195" y="287"/>
                    <a:pt x="192" y="288"/>
                    <a:pt x="190" y="289"/>
                  </a:cubicBezTo>
                  <a:cubicBezTo>
                    <a:pt x="190" y="289"/>
                    <a:pt x="191" y="290"/>
                    <a:pt x="191" y="291"/>
                  </a:cubicBezTo>
                  <a:cubicBezTo>
                    <a:pt x="193" y="290"/>
                    <a:pt x="196" y="290"/>
                    <a:pt x="198" y="289"/>
                  </a:cubicBezTo>
                  <a:close/>
                  <a:moveTo>
                    <a:pt x="278" y="219"/>
                  </a:moveTo>
                  <a:cubicBezTo>
                    <a:pt x="279" y="219"/>
                    <a:pt x="279" y="219"/>
                    <a:pt x="279" y="219"/>
                  </a:cubicBezTo>
                  <a:cubicBezTo>
                    <a:pt x="280" y="217"/>
                    <a:pt x="281" y="215"/>
                    <a:pt x="282" y="213"/>
                  </a:cubicBezTo>
                  <a:cubicBezTo>
                    <a:pt x="282" y="212"/>
                    <a:pt x="282" y="212"/>
                    <a:pt x="282" y="212"/>
                  </a:cubicBezTo>
                  <a:cubicBezTo>
                    <a:pt x="281" y="212"/>
                    <a:pt x="281" y="212"/>
                    <a:pt x="280" y="212"/>
                  </a:cubicBezTo>
                  <a:cubicBezTo>
                    <a:pt x="279" y="214"/>
                    <a:pt x="278" y="216"/>
                    <a:pt x="277" y="218"/>
                  </a:cubicBezTo>
                  <a:cubicBezTo>
                    <a:pt x="277" y="218"/>
                    <a:pt x="278" y="219"/>
                    <a:pt x="278" y="219"/>
                  </a:cubicBezTo>
                  <a:close/>
                  <a:moveTo>
                    <a:pt x="249" y="255"/>
                  </a:moveTo>
                  <a:cubicBezTo>
                    <a:pt x="250" y="255"/>
                    <a:pt x="250" y="256"/>
                    <a:pt x="251" y="256"/>
                  </a:cubicBezTo>
                  <a:cubicBezTo>
                    <a:pt x="253" y="255"/>
                    <a:pt x="254" y="253"/>
                    <a:pt x="256" y="251"/>
                  </a:cubicBezTo>
                  <a:cubicBezTo>
                    <a:pt x="255" y="250"/>
                    <a:pt x="255" y="250"/>
                    <a:pt x="254" y="249"/>
                  </a:cubicBezTo>
                  <a:cubicBezTo>
                    <a:pt x="252" y="251"/>
                    <a:pt x="251" y="253"/>
                    <a:pt x="249" y="255"/>
                  </a:cubicBezTo>
                  <a:close/>
                  <a:moveTo>
                    <a:pt x="3" y="134"/>
                  </a:moveTo>
                  <a:cubicBezTo>
                    <a:pt x="4" y="132"/>
                    <a:pt x="4" y="129"/>
                    <a:pt x="4" y="126"/>
                  </a:cubicBezTo>
                  <a:cubicBezTo>
                    <a:pt x="4" y="126"/>
                    <a:pt x="3" y="126"/>
                    <a:pt x="2" y="126"/>
                  </a:cubicBezTo>
                  <a:cubicBezTo>
                    <a:pt x="1" y="129"/>
                    <a:pt x="1" y="131"/>
                    <a:pt x="1" y="134"/>
                  </a:cubicBezTo>
                  <a:cubicBezTo>
                    <a:pt x="2" y="134"/>
                    <a:pt x="3" y="134"/>
                    <a:pt x="3" y="134"/>
                  </a:cubicBezTo>
                  <a:close/>
                  <a:moveTo>
                    <a:pt x="164" y="4"/>
                  </a:moveTo>
                  <a:cubicBezTo>
                    <a:pt x="166" y="4"/>
                    <a:pt x="168" y="4"/>
                    <a:pt x="171" y="5"/>
                  </a:cubicBezTo>
                  <a:cubicBezTo>
                    <a:pt x="171" y="5"/>
                    <a:pt x="171" y="4"/>
                    <a:pt x="171" y="4"/>
                  </a:cubicBezTo>
                  <a:cubicBezTo>
                    <a:pt x="171" y="3"/>
                    <a:pt x="171" y="3"/>
                    <a:pt x="171" y="2"/>
                  </a:cubicBezTo>
                  <a:cubicBezTo>
                    <a:pt x="169" y="2"/>
                    <a:pt x="166" y="2"/>
                    <a:pt x="164" y="1"/>
                  </a:cubicBezTo>
                  <a:cubicBezTo>
                    <a:pt x="164" y="2"/>
                    <a:pt x="164" y="2"/>
                    <a:pt x="164" y="3"/>
                  </a:cubicBezTo>
                  <a:cubicBezTo>
                    <a:pt x="164" y="3"/>
                    <a:pt x="164" y="3"/>
                    <a:pt x="164" y="4"/>
                  </a:cubicBezTo>
                  <a:close/>
                  <a:moveTo>
                    <a:pt x="140" y="3"/>
                  </a:moveTo>
                  <a:cubicBezTo>
                    <a:pt x="143" y="3"/>
                    <a:pt x="145" y="3"/>
                    <a:pt x="148" y="3"/>
                  </a:cubicBezTo>
                  <a:cubicBezTo>
                    <a:pt x="148" y="3"/>
                    <a:pt x="148" y="2"/>
                    <a:pt x="148" y="2"/>
                  </a:cubicBezTo>
                  <a:cubicBezTo>
                    <a:pt x="148" y="1"/>
                    <a:pt x="148" y="1"/>
                    <a:pt x="148" y="0"/>
                  </a:cubicBezTo>
                  <a:cubicBezTo>
                    <a:pt x="145" y="0"/>
                    <a:pt x="143" y="1"/>
                    <a:pt x="140" y="1"/>
                  </a:cubicBezTo>
                  <a:cubicBezTo>
                    <a:pt x="140" y="1"/>
                    <a:pt x="140" y="1"/>
                    <a:pt x="140" y="2"/>
                  </a:cubicBezTo>
                  <a:cubicBezTo>
                    <a:pt x="140" y="2"/>
                    <a:pt x="140" y="3"/>
                    <a:pt x="140" y="3"/>
                  </a:cubicBezTo>
                  <a:close/>
                  <a:moveTo>
                    <a:pt x="7" y="112"/>
                  </a:moveTo>
                  <a:cubicBezTo>
                    <a:pt x="8" y="109"/>
                    <a:pt x="9" y="107"/>
                    <a:pt x="10" y="104"/>
                  </a:cubicBezTo>
                  <a:cubicBezTo>
                    <a:pt x="9" y="104"/>
                    <a:pt x="8" y="104"/>
                    <a:pt x="7" y="104"/>
                  </a:cubicBezTo>
                  <a:cubicBezTo>
                    <a:pt x="6" y="106"/>
                    <a:pt x="6" y="109"/>
                    <a:pt x="5" y="111"/>
                  </a:cubicBezTo>
                  <a:cubicBezTo>
                    <a:pt x="6" y="111"/>
                    <a:pt x="7" y="111"/>
                    <a:pt x="7" y="112"/>
                  </a:cubicBezTo>
                  <a:close/>
                  <a:moveTo>
                    <a:pt x="3" y="157"/>
                  </a:moveTo>
                  <a:cubicBezTo>
                    <a:pt x="3" y="154"/>
                    <a:pt x="3" y="152"/>
                    <a:pt x="3" y="149"/>
                  </a:cubicBezTo>
                  <a:cubicBezTo>
                    <a:pt x="2" y="149"/>
                    <a:pt x="1" y="149"/>
                    <a:pt x="0" y="149"/>
                  </a:cubicBezTo>
                  <a:cubicBezTo>
                    <a:pt x="0" y="152"/>
                    <a:pt x="0" y="154"/>
                    <a:pt x="0" y="157"/>
                  </a:cubicBezTo>
                  <a:cubicBezTo>
                    <a:pt x="1" y="157"/>
                    <a:pt x="2" y="157"/>
                    <a:pt x="3" y="157"/>
                  </a:cubicBezTo>
                  <a:close/>
                  <a:moveTo>
                    <a:pt x="118" y="6"/>
                  </a:moveTo>
                  <a:cubicBezTo>
                    <a:pt x="120" y="6"/>
                    <a:pt x="122" y="5"/>
                    <a:pt x="125" y="5"/>
                  </a:cubicBezTo>
                  <a:cubicBezTo>
                    <a:pt x="125" y="5"/>
                    <a:pt x="125" y="4"/>
                    <a:pt x="125" y="4"/>
                  </a:cubicBezTo>
                  <a:cubicBezTo>
                    <a:pt x="125" y="3"/>
                    <a:pt x="125" y="3"/>
                    <a:pt x="124" y="2"/>
                  </a:cubicBezTo>
                  <a:cubicBezTo>
                    <a:pt x="122" y="3"/>
                    <a:pt x="119" y="3"/>
                    <a:pt x="117" y="4"/>
                  </a:cubicBezTo>
                  <a:cubicBezTo>
                    <a:pt x="117" y="4"/>
                    <a:pt x="117" y="4"/>
                    <a:pt x="117" y="5"/>
                  </a:cubicBezTo>
                  <a:cubicBezTo>
                    <a:pt x="117" y="5"/>
                    <a:pt x="117" y="6"/>
                    <a:pt x="118" y="6"/>
                  </a:cubicBezTo>
                  <a:close/>
                  <a:moveTo>
                    <a:pt x="75" y="23"/>
                  </a:moveTo>
                  <a:cubicBezTo>
                    <a:pt x="77" y="22"/>
                    <a:pt x="79" y="21"/>
                    <a:pt x="81" y="19"/>
                  </a:cubicBezTo>
                  <a:cubicBezTo>
                    <a:pt x="81" y="19"/>
                    <a:pt x="81" y="18"/>
                    <a:pt x="80" y="18"/>
                  </a:cubicBezTo>
                  <a:cubicBezTo>
                    <a:pt x="80" y="17"/>
                    <a:pt x="80" y="17"/>
                    <a:pt x="80" y="17"/>
                  </a:cubicBezTo>
                  <a:cubicBezTo>
                    <a:pt x="78" y="18"/>
                    <a:pt x="76" y="19"/>
                    <a:pt x="73" y="21"/>
                  </a:cubicBezTo>
                  <a:cubicBezTo>
                    <a:pt x="73" y="21"/>
                    <a:pt x="74" y="21"/>
                    <a:pt x="74" y="21"/>
                  </a:cubicBezTo>
                  <a:cubicBezTo>
                    <a:pt x="74" y="22"/>
                    <a:pt x="74" y="22"/>
                    <a:pt x="75" y="23"/>
                  </a:cubicBezTo>
                  <a:close/>
                  <a:moveTo>
                    <a:pt x="95" y="13"/>
                  </a:moveTo>
                  <a:cubicBezTo>
                    <a:pt x="98" y="12"/>
                    <a:pt x="100" y="11"/>
                    <a:pt x="102" y="11"/>
                  </a:cubicBezTo>
                  <a:cubicBezTo>
                    <a:pt x="102" y="10"/>
                    <a:pt x="102" y="9"/>
                    <a:pt x="102" y="9"/>
                  </a:cubicBezTo>
                  <a:cubicBezTo>
                    <a:pt x="102" y="9"/>
                    <a:pt x="102" y="8"/>
                    <a:pt x="102" y="8"/>
                  </a:cubicBezTo>
                  <a:cubicBezTo>
                    <a:pt x="99" y="9"/>
                    <a:pt x="97" y="10"/>
                    <a:pt x="94" y="11"/>
                  </a:cubicBezTo>
                  <a:cubicBezTo>
                    <a:pt x="95" y="11"/>
                    <a:pt x="95" y="11"/>
                    <a:pt x="95" y="11"/>
                  </a:cubicBezTo>
                  <a:cubicBezTo>
                    <a:pt x="95" y="12"/>
                    <a:pt x="95" y="12"/>
                    <a:pt x="95" y="13"/>
                  </a:cubicBezTo>
                  <a:close/>
                  <a:moveTo>
                    <a:pt x="62" y="32"/>
                  </a:moveTo>
                  <a:cubicBezTo>
                    <a:pt x="61" y="31"/>
                    <a:pt x="61" y="30"/>
                    <a:pt x="60" y="30"/>
                  </a:cubicBezTo>
                  <a:cubicBezTo>
                    <a:pt x="60" y="30"/>
                    <a:pt x="60" y="29"/>
                    <a:pt x="60" y="29"/>
                  </a:cubicBezTo>
                  <a:cubicBezTo>
                    <a:pt x="58" y="31"/>
                    <a:pt x="56" y="32"/>
                    <a:pt x="54" y="34"/>
                  </a:cubicBezTo>
                  <a:cubicBezTo>
                    <a:pt x="55" y="35"/>
                    <a:pt x="55" y="35"/>
                    <a:pt x="56" y="36"/>
                  </a:cubicBezTo>
                  <a:cubicBezTo>
                    <a:pt x="58" y="35"/>
                    <a:pt x="60" y="33"/>
                    <a:pt x="62" y="32"/>
                  </a:cubicBezTo>
                  <a:close/>
                  <a:moveTo>
                    <a:pt x="15" y="90"/>
                  </a:moveTo>
                  <a:cubicBezTo>
                    <a:pt x="16" y="88"/>
                    <a:pt x="17" y="86"/>
                    <a:pt x="18" y="83"/>
                  </a:cubicBezTo>
                  <a:cubicBezTo>
                    <a:pt x="17" y="83"/>
                    <a:pt x="16" y="83"/>
                    <a:pt x="16" y="82"/>
                  </a:cubicBezTo>
                  <a:cubicBezTo>
                    <a:pt x="15" y="85"/>
                    <a:pt x="14" y="87"/>
                    <a:pt x="13" y="89"/>
                  </a:cubicBezTo>
                  <a:cubicBezTo>
                    <a:pt x="13" y="89"/>
                    <a:pt x="14" y="90"/>
                    <a:pt x="15" y="90"/>
                  </a:cubicBezTo>
                  <a:close/>
                  <a:moveTo>
                    <a:pt x="186" y="8"/>
                  </a:moveTo>
                  <a:cubicBezTo>
                    <a:pt x="189" y="9"/>
                    <a:pt x="191" y="9"/>
                    <a:pt x="193" y="10"/>
                  </a:cubicBezTo>
                  <a:cubicBezTo>
                    <a:pt x="194" y="10"/>
                    <a:pt x="194" y="10"/>
                    <a:pt x="194" y="10"/>
                  </a:cubicBezTo>
                  <a:cubicBezTo>
                    <a:pt x="194" y="9"/>
                    <a:pt x="194" y="8"/>
                    <a:pt x="194" y="8"/>
                  </a:cubicBezTo>
                  <a:cubicBezTo>
                    <a:pt x="192" y="7"/>
                    <a:pt x="189" y="6"/>
                    <a:pt x="187" y="5"/>
                  </a:cubicBezTo>
                  <a:cubicBezTo>
                    <a:pt x="187" y="6"/>
                    <a:pt x="187" y="7"/>
                    <a:pt x="187" y="7"/>
                  </a:cubicBezTo>
                  <a:cubicBezTo>
                    <a:pt x="186" y="7"/>
                    <a:pt x="186" y="8"/>
                    <a:pt x="186" y="8"/>
                  </a:cubicBezTo>
                  <a:close/>
                  <a:moveTo>
                    <a:pt x="229" y="27"/>
                  </a:moveTo>
                  <a:cubicBezTo>
                    <a:pt x="231" y="28"/>
                    <a:pt x="233" y="30"/>
                    <a:pt x="235" y="31"/>
                  </a:cubicBezTo>
                  <a:cubicBezTo>
                    <a:pt x="235" y="31"/>
                    <a:pt x="235" y="31"/>
                    <a:pt x="235" y="31"/>
                  </a:cubicBezTo>
                  <a:cubicBezTo>
                    <a:pt x="235" y="30"/>
                    <a:pt x="236" y="30"/>
                    <a:pt x="236" y="29"/>
                  </a:cubicBezTo>
                  <a:cubicBezTo>
                    <a:pt x="234" y="28"/>
                    <a:pt x="232" y="26"/>
                    <a:pt x="230" y="25"/>
                  </a:cubicBezTo>
                  <a:cubicBezTo>
                    <a:pt x="230" y="25"/>
                    <a:pt x="229" y="26"/>
                    <a:pt x="229" y="27"/>
                  </a:cubicBezTo>
                  <a:cubicBezTo>
                    <a:pt x="229" y="27"/>
                    <a:pt x="229" y="27"/>
                    <a:pt x="229" y="27"/>
                  </a:cubicBezTo>
                  <a:close/>
                  <a:moveTo>
                    <a:pt x="32" y="241"/>
                  </a:moveTo>
                  <a:cubicBezTo>
                    <a:pt x="33" y="241"/>
                    <a:pt x="34" y="240"/>
                    <a:pt x="34" y="240"/>
                  </a:cubicBezTo>
                  <a:cubicBezTo>
                    <a:pt x="33" y="238"/>
                    <a:pt x="31" y="236"/>
                    <a:pt x="30" y="233"/>
                  </a:cubicBezTo>
                  <a:cubicBezTo>
                    <a:pt x="29" y="234"/>
                    <a:pt x="28" y="235"/>
                    <a:pt x="28" y="235"/>
                  </a:cubicBezTo>
                  <a:cubicBezTo>
                    <a:pt x="29" y="237"/>
                    <a:pt x="31" y="239"/>
                    <a:pt x="32" y="241"/>
                  </a:cubicBezTo>
                  <a:close/>
                  <a:moveTo>
                    <a:pt x="6" y="179"/>
                  </a:moveTo>
                  <a:cubicBezTo>
                    <a:pt x="5" y="177"/>
                    <a:pt x="5" y="174"/>
                    <a:pt x="4" y="171"/>
                  </a:cubicBezTo>
                  <a:cubicBezTo>
                    <a:pt x="4" y="172"/>
                    <a:pt x="3" y="172"/>
                    <a:pt x="2" y="172"/>
                  </a:cubicBezTo>
                  <a:cubicBezTo>
                    <a:pt x="2" y="175"/>
                    <a:pt x="3" y="177"/>
                    <a:pt x="3" y="179"/>
                  </a:cubicBezTo>
                  <a:cubicBezTo>
                    <a:pt x="4" y="179"/>
                    <a:pt x="5" y="179"/>
                    <a:pt x="6" y="179"/>
                  </a:cubicBezTo>
                  <a:close/>
                  <a:moveTo>
                    <a:pt x="48" y="258"/>
                  </a:moveTo>
                  <a:cubicBezTo>
                    <a:pt x="48" y="257"/>
                    <a:pt x="49" y="257"/>
                    <a:pt x="50" y="256"/>
                  </a:cubicBezTo>
                  <a:cubicBezTo>
                    <a:pt x="48" y="254"/>
                    <a:pt x="46" y="253"/>
                    <a:pt x="44" y="251"/>
                  </a:cubicBezTo>
                  <a:cubicBezTo>
                    <a:pt x="44" y="251"/>
                    <a:pt x="43" y="252"/>
                    <a:pt x="42" y="253"/>
                  </a:cubicBezTo>
                  <a:cubicBezTo>
                    <a:pt x="44" y="255"/>
                    <a:pt x="46" y="256"/>
                    <a:pt x="48" y="258"/>
                  </a:cubicBezTo>
                  <a:close/>
                  <a:moveTo>
                    <a:pt x="247" y="41"/>
                  </a:moveTo>
                  <a:cubicBezTo>
                    <a:pt x="249" y="43"/>
                    <a:pt x="250" y="45"/>
                    <a:pt x="252" y="47"/>
                  </a:cubicBezTo>
                  <a:cubicBezTo>
                    <a:pt x="252" y="46"/>
                    <a:pt x="252" y="46"/>
                    <a:pt x="252" y="46"/>
                  </a:cubicBezTo>
                  <a:cubicBezTo>
                    <a:pt x="253" y="46"/>
                    <a:pt x="254" y="45"/>
                    <a:pt x="254" y="45"/>
                  </a:cubicBezTo>
                  <a:cubicBezTo>
                    <a:pt x="252" y="43"/>
                    <a:pt x="250" y="41"/>
                    <a:pt x="248" y="39"/>
                  </a:cubicBezTo>
                  <a:cubicBezTo>
                    <a:pt x="248" y="40"/>
                    <a:pt x="248" y="40"/>
                    <a:pt x="247" y="41"/>
                  </a:cubicBezTo>
                  <a:cubicBezTo>
                    <a:pt x="247" y="41"/>
                    <a:pt x="247" y="41"/>
                    <a:pt x="247" y="41"/>
                  </a:cubicBezTo>
                  <a:close/>
                  <a:moveTo>
                    <a:pt x="12" y="201"/>
                  </a:moveTo>
                  <a:cubicBezTo>
                    <a:pt x="11" y="198"/>
                    <a:pt x="10" y="196"/>
                    <a:pt x="10" y="193"/>
                  </a:cubicBezTo>
                  <a:cubicBezTo>
                    <a:pt x="9" y="194"/>
                    <a:pt x="8" y="194"/>
                    <a:pt x="7" y="194"/>
                  </a:cubicBezTo>
                  <a:cubicBezTo>
                    <a:pt x="8" y="197"/>
                    <a:pt x="9" y="199"/>
                    <a:pt x="10" y="201"/>
                  </a:cubicBezTo>
                  <a:cubicBezTo>
                    <a:pt x="10" y="201"/>
                    <a:pt x="11" y="201"/>
                    <a:pt x="12" y="201"/>
                  </a:cubicBezTo>
                  <a:close/>
                  <a:moveTo>
                    <a:pt x="263" y="58"/>
                  </a:moveTo>
                  <a:cubicBezTo>
                    <a:pt x="264" y="60"/>
                    <a:pt x="266" y="62"/>
                    <a:pt x="267" y="64"/>
                  </a:cubicBezTo>
                  <a:cubicBezTo>
                    <a:pt x="267" y="64"/>
                    <a:pt x="267" y="64"/>
                    <a:pt x="267" y="64"/>
                  </a:cubicBezTo>
                  <a:cubicBezTo>
                    <a:pt x="268" y="64"/>
                    <a:pt x="269" y="63"/>
                    <a:pt x="269" y="63"/>
                  </a:cubicBezTo>
                  <a:cubicBezTo>
                    <a:pt x="268" y="61"/>
                    <a:pt x="266" y="59"/>
                    <a:pt x="265" y="57"/>
                  </a:cubicBezTo>
                  <a:cubicBezTo>
                    <a:pt x="264" y="57"/>
                    <a:pt x="264" y="58"/>
                    <a:pt x="263" y="58"/>
                  </a:cubicBezTo>
                  <a:cubicBezTo>
                    <a:pt x="263" y="58"/>
                    <a:pt x="263" y="58"/>
                    <a:pt x="263" y="58"/>
                  </a:cubicBezTo>
                  <a:close/>
                  <a:moveTo>
                    <a:pt x="208" y="16"/>
                  </a:moveTo>
                  <a:cubicBezTo>
                    <a:pt x="210" y="17"/>
                    <a:pt x="213" y="18"/>
                    <a:pt x="215" y="19"/>
                  </a:cubicBezTo>
                  <a:cubicBezTo>
                    <a:pt x="215" y="19"/>
                    <a:pt x="215" y="19"/>
                    <a:pt x="215" y="19"/>
                  </a:cubicBezTo>
                  <a:cubicBezTo>
                    <a:pt x="215" y="18"/>
                    <a:pt x="216" y="17"/>
                    <a:pt x="216" y="17"/>
                  </a:cubicBezTo>
                  <a:cubicBezTo>
                    <a:pt x="214" y="16"/>
                    <a:pt x="211" y="14"/>
                    <a:pt x="209" y="13"/>
                  </a:cubicBezTo>
                  <a:cubicBezTo>
                    <a:pt x="209" y="14"/>
                    <a:pt x="209" y="15"/>
                    <a:pt x="208" y="15"/>
                  </a:cubicBezTo>
                  <a:cubicBezTo>
                    <a:pt x="208" y="15"/>
                    <a:pt x="208" y="16"/>
                    <a:pt x="208" y="16"/>
                  </a:cubicBezTo>
                  <a:close/>
                  <a:moveTo>
                    <a:pt x="22" y="221"/>
                  </a:moveTo>
                  <a:cubicBezTo>
                    <a:pt x="20" y="219"/>
                    <a:pt x="19" y="217"/>
                    <a:pt x="18" y="214"/>
                  </a:cubicBezTo>
                  <a:cubicBezTo>
                    <a:pt x="17" y="215"/>
                    <a:pt x="17" y="215"/>
                    <a:pt x="16" y="216"/>
                  </a:cubicBezTo>
                  <a:cubicBezTo>
                    <a:pt x="17" y="218"/>
                    <a:pt x="18" y="220"/>
                    <a:pt x="19" y="222"/>
                  </a:cubicBezTo>
                  <a:cubicBezTo>
                    <a:pt x="20" y="222"/>
                    <a:pt x="21" y="221"/>
                    <a:pt x="22" y="2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IN" sz="1798" kern="0">
                <a:solidFill>
                  <a:srgbClr val="FFFFFF"/>
                </a:solidFill>
              </a:endParaRPr>
            </a:p>
          </p:txBody>
        </p:sp>
      </p:grpSp>
      <p:sp>
        <p:nvSpPr>
          <p:cNvPr id="25" name="Rectangle 24"/>
          <p:cNvSpPr>
            <a:spLocks/>
          </p:cNvSpPr>
          <p:nvPr userDrawn="1"/>
        </p:nvSpPr>
        <p:spPr>
          <a:xfrm>
            <a:off x="2057483" y="0"/>
            <a:ext cx="7807730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8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1876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bg>
      <p:bgPr>
        <a:solidFill>
          <a:schemeClr val="tx2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43459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52550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lank">
    <p:bg>
      <p:bgPr>
        <a:solidFill>
          <a:schemeClr val="tx2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31355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4852" y="1"/>
            <a:ext cx="3997149" cy="6156104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7440547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37921"/>
            <a:ext cx="72958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601" y="2311401"/>
            <a:ext cx="3578253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7190" y="2311402"/>
            <a:ext cx="3578253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7190" y="4236721"/>
            <a:ext cx="3578253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77198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53675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383219" cy="6857999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891" y="294200"/>
            <a:ext cx="8887371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3890" y="1137921"/>
            <a:ext cx="2741454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4102" y="1137921"/>
            <a:ext cx="280238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5241" y="1137922"/>
            <a:ext cx="2767159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3891" y="907750"/>
            <a:ext cx="8887371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31842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137920"/>
            <a:ext cx="8234455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21933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06851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image" Target="../media/image10.emf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0" y="6356350"/>
            <a:ext cx="303055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  <p:sp>
        <p:nvSpPr>
          <p:cNvPr id="17" name="Date Placeholder 1">
            <a:extLst>
              <a:ext uri="{FF2B5EF4-FFF2-40B4-BE49-F238E27FC236}">
                <a16:creationId xmlns:a16="http://schemas.microsoft.com/office/drawing/2014/main" id="{3E9075B3-954F-4542-99DC-9D38337796E8}"/>
              </a:ext>
            </a:extLst>
          </p:cNvPr>
          <p:cNvSpPr txBox="1">
            <a:spLocks/>
          </p:cNvSpPr>
          <p:nvPr userDrawn="1"/>
        </p:nvSpPr>
        <p:spPr>
          <a:xfrm>
            <a:off x="1352024" y="6471244"/>
            <a:ext cx="119063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z="800" smtClean="0"/>
              <a:t>9 December 2024</a:t>
            </a:fld>
            <a:endParaRPr lang="en-IN" sz="800" dirty="0"/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FE280278-22FE-4F3D-8D37-B8FB096E9C4C}"/>
              </a:ext>
            </a:extLst>
          </p:cNvPr>
          <p:cNvSpPr txBox="1">
            <a:spLocks/>
          </p:cNvSpPr>
          <p:nvPr userDrawn="1"/>
        </p:nvSpPr>
        <p:spPr>
          <a:xfrm>
            <a:off x="3161341" y="6471244"/>
            <a:ext cx="7146871" cy="19625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/>
              <a:t>EY Presentation: Knowledge Partner </a:t>
            </a:r>
            <a:r>
              <a:rPr lang="en-IN" sz="800" dirty="0"/>
              <a:t>for Investment Promotion, Policy support, Branding &amp; Investor Facilitation, Madhya Pradesh</a:t>
            </a:r>
            <a:endParaRPr lang="en-US" sz="800" dirty="0"/>
          </a:p>
        </p:txBody>
      </p:sp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4093714F-0FA2-4BA1-B9F9-9CDFDB009BD4}"/>
              </a:ext>
            </a:extLst>
          </p:cNvPr>
          <p:cNvSpPr txBox="1">
            <a:spLocks/>
          </p:cNvSpPr>
          <p:nvPr userDrawn="1"/>
        </p:nvSpPr>
        <p:spPr>
          <a:xfrm>
            <a:off x="609283" y="6471244"/>
            <a:ext cx="662721" cy="180000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sz="800" dirty="0"/>
              <a:t>Page </a:t>
            </a:r>
            <a:fld id="{D5B76411-544C-4F9A-8EDE-9EEB2BD21F95}" type="slidenum">
              <a:rPr lang="en-IN" sz="800" smtClean="0"/>
              <a:t>‹#›</a:t>
            </a:fld>
            <a:endParaRPr sz="800" dirty="0"/>
          </a:p>
        </p:txBody>
      </p:sp>
    </p:spTree>
    <p:extLst>
      <p:ext uri="{BB962C8B-B14F-4D97-AF65-F5344CB8AC3E}">
        <p14:creationId xmlns:p14="http://schemas.microsoft.com/office/powerpoint/2010/main" val="1203784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</p:sldLayoutIdLst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00000"/>
        <a:buFont typeface="EYInterstate" panose="0200050302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00000"/>
        <a:buFont typeface="EYInterstate" panose="0200050302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00000"/>
        <a:buFont typeface="EYInterstate" panose="0200050302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00000"/>
        <a:buFont typeface="EYInterstate" panose="0200050302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00000"/>
        <a:buFont typeface="EYInterstate" panose="0200050302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9" y="1591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4074" y="1361440"/>
            <a:ext cx="11318138" cy="4764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object 110"/>
          <p:cNvSpPr/>
          <p:nvPr userDrawn="1"/>
        </p:nvSpPr>
        <p:spPr>
          <a:xfrm>
            <a:off x="10611425" y="6403081"/>
            <a:ext cx="0" cy="201688"/>
          </a:xfrm>
          <a:custGeom>
            <a:avLst/>
            <a:gdLst/>
            <a:ahLst/>
            <a:cxnLst/>
            <a:rect l="l" t="t" r="r" b="b"/>
            <a:pathLst>
              <a:path h="349592">
                <a:moveTo>
                  <a:pt x="0" y="0"/>
                </a:moveTo>
                <a:lnTo>
                  <a:pt x="0" y="349592"/>
                </a:lnTo>
              </a:path>
            </a:pathLst>
          </a:custGeom>
          <a:ln w="10795">
            <a:solidFill>
              <a:srgbClr val="FFFFFF">
                <a:lumMod val="50000"/>
              </a:srgb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defTabSz="815056">
              <a:defRPr/>
            </a:pPr>
            <a:endParaRPr lang="en-US" sz="1613" kern="0" dirty="0">
              <a:solidFill>
                <a:srgbClr val="646464"/>
              </a:solidFill>
              <a:latin typeface="EYInterstate Light"/>
            </a:endParaRPr>
          </a:p>
        </p:txBody>
      </p:sp>
      <p:sp>
        <p:nvSpPr>
          <p:cNvPr id="23" name="object 111"/>
          <p:cNvSpPr/>
          <p:nvPr userDrawn="1"/>
        </p:nvSpPr>
        <p:spPr>
          <a:xfrm>
            <a:off x="10914027" y="6403081"/>
            <a:ext cx="0" cy="201688"/>
          </a:xfrm>
          <a:custGeom>
            <a:avLst/>
            <a:gdLst/>
            <a:ahLst/>
            <a:cxnLst/>
            <a:rect l="l" t="t" r="r" b="b"/>
            <a:pathLst>
              <a:path h="349592">
                <a:moveTo>
                  <a:pt x="0" y="0"/>
                </a:moveTo>
                <a:lnTo>
                  <a:pt x="0" y="349592"/>
                </a:lnTo>
              </a:path>
            </a:pathLst>
          </a:custGeom>
          <a:ln w="10795">
            <a:solidFill>
              <a:srgbClr val="FFFFFF">
                <a:lumMod val="50000"/>
              </a:srgb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defTabSz="815056">
              <a:defRPr/>
            </a:pPr>
            <a:endParaRPr lang="en-US" sz="1613" kern="0" dirty="0">
              <a:solidFill>
                <a:srgbClr val="646464"/>
              </a:solidFill>
              <a:latin typeface="EYInterstate Light"/>
            </a:endParaRPr>
          </a:p>
        </p:txBody>
      </p:sp>
      <p:sp>
        <p:nvSpPr>
          <p:cNvPr id="24" name="TextBox 23"/>
          <p:cNvSpPr txBox="1"/>
          <p:nvPr userDrawn="1"/>
        </p:nvSpPr>
        <p:spPr>
          <a:xfrm>
            <a:off x="10987867" y="6418828"/>
            <a:ext cx="869865" cy="20168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815056"/>
            <a:r>
              <a:rPr lang="en-US" sz="808" b="1" dirty="0">
                <a:solidFill>
                  <a:srgbClr val="646464"/>
                </a:solidFill>
                <a:latin typeface="EYInterstate Light"/>
              </a:rPr>
              <a:t>Technical Presentation</a:t>
            </a:r>
            <a:endParaRPr lang="en-IN" sz="519" dirty="0">
              <a:solidFill>
                <a:srgbClr val="646464"/>
              </a:solidFill>
              <a:latin typeface="EYInterstate Light"/>
            </a:endParaRPr>
          </a:p>
        </p:txBody>
      </p:sp>
      <p:sp>
        <p:nvSpPr>
          <p:cNvPr id="25" name="Slide Number Placeholder 15"/>
          <p:cNvSpPr txBox="1">
            <a:spLocks/>
          </p:cNvSpPr>
          <p:nvPr userDrawn="1"/>
        </p:nvSpPr>
        <p:spPr>
          <a:xfrm>
            <a:off x="10611431" y="6457737"/>
            <a:ext cx="302601" cy="106504"/>
          </a:xfrm>
          <a:prstGeom prst="rect">
            <a:avLst/>
          </a:prstGeom>
        </p:spPr>
        <p:txBody>
          <a:bodyPr lIns="0" tIns="0" rIns="0" bIns="0" anchor="ctr" anchorCtr="1">
            <a:spAutoFit/>
          </a:bodyPr>
          <a:lstStyle>
            <a:defPPr>
              <a:defRPr lang="en-US"/>
            </a:defPPr>
            <a:lvl1pPr marL="0" algn="l" defTabSz="1414394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07197" algn="l" defTabSz="1414394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14394" algn="l" defTabSz="1414394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21591" algn="l" defTabSz="1414394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28788" algn="l" defTabSz="1414394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35985" algn="l" defTabSz="1414394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3182" algn="l" defTabSz="1414394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950379" algn="l" defTabSz="1414394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657576" algn="l" defTabSz="1414394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1192EF4-E721-437A-B381-2BB6F5086B17}" type="slidenum">
              <a:rPr lang="en-US" sz="692" smtClean="0">
                <a:solidFill>
                  <a:srgbClr val="646464"/>
                </a:solidFill>
                <a:cs typeface="Arial" panose="020B0604020202020204" pitchFamily="34" charset="0"/>
              </a:rPr>
              <a:pPr/>
              <a:t>‹#›</a:t>
            </a:fld>
            <a:endParaRPr lang="en-US" sz="692" dirty="0">
              <a:solidFill>
                <a:srgbClr val="646464"/>
              </a:solidFill>
              <a:cs typeface="Arial" panose="020B0604020202020204" pitchFamily="34" charset="0"/>
            </a:endParaRPr>
          </a:p>
        </p:txBody>
      </p:sp>
      <p:grpSp>
        <p:nvGrpSpPr>
          <p:cNvPr id="26" name="Group 1116"/>
          <p:cNvGrpSpPr>
            <a:grpSpLocks noChangeAspect="1"/>
          </p:cNvGrpSpPr>
          <p:nvPr userDrawn="1"/>
        </p:nvGrpSpPr>
        <p:grpSpPr bwMode="auto">
          <a:xfrm>
            <a:off x="10280709" y="6350259"/>
            <a:ext cx="230863" cy="235377"/>
            <a:chOff x="7747" y="5179"/>
            <a:chExt cx="252" cy="257"/>
          </a:xfrm>
        </p:grpSpPr>
        <p:sp>
          <p:nvSpPr>
            <p:cNvPr id="27" name="AutoShape 1115"/>
            <p:cNvSpPr>
              <a:spLocks noChangeAspect="1" noChangeArrowheads="1" noTextEdit="1"/>
            </p:cNvSpPr>
            <p:nvPr userDrawn="1"/>
          </p:nvSpPr>
          <p:spPr bwMode="auto">
            <a:xfrm>
              <a:off x="7747" y="5179"/>
              <a:ext cx="252" cy="2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15056">
                <a:defRPr/>
              </a:pPr>
              <a:endParaRPr lang="en-IN" sz="1613" kern="0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8" name="Freeform 1117"/>
            <p:cNvSpPr>
              <a:spLocks/>
            </p:cNvSpPr>
            <p:nvPr userDrawn="1"/>
          </p:nvSpPr>
          <p:spPr bwMode="auto">
            <a:xfrm>
              <a:off x="7749" y="5309"/>
              <a:ext cx="102" cy="127"/>
            </a:xfrm>
            <a:custGeom>
              <a:avLst/>
              <a:gdLst>
                <a:gd name="T0" fmla="*/ 344 w 918"/>
                <a:gd name="T1" fmla="*/ 692 h 1144"/>
                <a:gd name="T2" fmla="*/ 759 w 918"/>
                <a:gd name="T3" fmla="*/ 692 h 1144"/>
                <a:gd name="T4" fmla="*/ 759 w 918"/>
                <a:gd name="T5" fmla="*/ 452 h 1144"/>
                <a:gd name="T6" fmla="*/ 344 w 918"/>
                <a:gd name="T7" fmla="*/ 452 h 1144"/>
                <a:gd name="T8" fmla="*/ 344 w 918"/>
                <a:gd name="T9" fmla="*/ 263 h 1144"/>
                <a:gd name="T10" fmla="*/ 802 w 918"/>
                <a:gd name="T11" fmla="*/ 263 h 1144"/>
                <a:gd name="T12" fmla="*/ 651 w 918"/>
                <a:gd name="T13" fmla="*/ 0 h 1144"/>
                <a:gd name="T14" fmla="*/ 0 w 918"/>
                <a:gd name="T15" fmla="*/ 0 h 1144"/>
                <a:gd name="T16" fmla="*/ 0 w 918"/>
                <a:gd name="T17" fmla="*/ 1144 h 1144"/>
                <a:gd name="T18" fmla="*/ 918 w 918"/>
                <a:gd name="T19" fmla="*/ 1144 h 1144"/>
                <a:gd name="T20" fmla="*/ 918 w 918"/>
                <a:gd name="T21" fmla="*/ 881 h 1144"/>
                <a:gd name="T22" fmla="*/ 344 w 918"/>
                <a:gd name="T23" fmla="*/ 881 h 1144"/>
                <a:gd name="T24" fmla="*/ 344 w 918"/>
                <a:gd name="T25" fmla="*/ 692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18" h="1144">
                  <a:moveTo>
                    <a:pt x="344" y="692"/>
                  </a:moveTo>
                  <a:lnTo>
                    <a:pt x="759" y="692"/>
                  </a:lnTo>
                  <a:lnTo>
                    <a:pt x="759" y="452"/>
                  </a:lnTo>
                  <a:lnTo>
                    <a:pt x="344" y="452"/>
                  </a:lnTo>
                  <a:lnTo>
                    <a:pt x="344" y="263"/>
                  </a:lnTo>
                  <a:lnTo>
                    <a:pt x="802" y="263"/>
                  </a:lnTo>
                  <a:lnTo>
                    <a:pt x="651" y="0"/>
                  </a:lnTo>
                  <a:lnTo>
                    <a:pt x="0" y="0"/>
                  </a:lnTo>
                  <a:lnTo>
                    <a:pt x="0" y="1144"/>
                  </a:lnTo>
                  <a:lnTo>
                    <a:pt x="918" y="1144"/>
                  </a:lnTo>
                  <a:lnTo>
                    <a:pt x="918" y="881"/>
                  </a:lnTo>
                  <a:lnTo>
                    <a:pt x="344" y="881"/>
                  </a:lnTo>
                  <a:lnTo>
                    <a:pt x="344" y="69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15056">
                <a:defRPr/>
              </a:pPr>
              <a:endParaRPr lang="en-IN" sz="1613" kern="0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9" name="Freeform 1118"/>
            <p:cNvSpPr>
              <a:spLocks/>
            </p:cNvSpPr>
            <p:nvPr userDrawn="1"/>
          </p:nvSpPr>
          <p:spPr bwMode="auto">
            <a:xfrm>
              <a:off x="7834" y="5309"/>
              <a:ext cx="127" cy="127"/>
            </a:xfrm>
            <a:custGeom>
              <a:avLst/>
              <a:gdLst>
                <a:gd name="T0" fmla="*/ 770 w 1145"/>
                <a:gd name="T1" fmla="*/ 0 h 1144"/>
                <a:gd name="T2" fmla="*/ 575 w 1145"/>
                <a:gd name="T3" fmla="*/ 373 h 1144"/>
                <a:gd name="T4" fmla="*/ 380 w 1145"/>
                <a:gd name="T5" fmla="*/ 0 h 1144"/>
                <a:gd name="T6" fmla="*/ 0 w 1145"/>
                <a:gd name="T7" fmla="*/ 0 h 1144"/>
                <a:gd name="T8" fmla="*/ 401 w 1145"/>
                <a:gd name="T9" fmla="*/ 692 h 1144"/>
                <a:gd name="T10" fmla="*/ 401 w 1145"/>
                <a:gd name="T11" fmla="*/ 1144 h 1144"/>
                <a:gd name="T12" fmla="*/ 743 w 1145"/>
                <a:gd name="T13" fmla="*/ 1144 h 1144"/>
                <a:gd name="T14" fmla="*/ 743 w 1145"/>
                <a:gd name="T15" fmla="*/ 692 h 1144"/>
                <a:gd name="T16" fmla="*/ 1145 w 1145"/>
                <a:gd name="T17" fmla="*/ 0 h 1144"/>
                <a:gd name="T18" fmla="*/ 770 w 1145"/>
                <a:gd name="T19" fmla="*/ 0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5" h="1144">
                  <a:moveTo>
                    <a:pt x="770" y="0"/>
                  </a:moveTo>
                  <a:lnTo>
                    <a:pt x="575" y="373"/>
                  </a:lnTo>
                  <a:lnTo>
                    <a:pt x="380" y="0"/>
                  </a:lnTo>
                  <a:lnTo>
                    <a:pt x="0" y="0"/>
                  </a:lnTo>
                  <a:lnTo>
                    <a:pt x="401" y="692"/>
                  </a:lnTo>
                  <a:lnTo>
                    <a:pt x="401" y="1144"/>
                  </a:lnTo>
                  <a:lnTo>
                    <a:pt x="743" y="1144"/>
                  </a:lnTo>
                  <a:lnTo>
                    <a:pt x="743" y="692"/>
                  </a:lnTo>
                  <a:lnTo>
                    <a:pt x="1145" y="0"/>
                  </a:lnTo>
                  <a:lnTo>
                    <a:pt x="77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15056">
                <a:defRPr/>
              </a:pPr>
              <a:endParaRPr lang="en-IN" sz="1613" kern="0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30" name="Freeform 1119"/>
            <p:cNvSpPr>
              <a:spLocks/>
            </p:cNvSpPr>
            <p:nvPr userDrawn="1"/>
          </p:nvSpPr>
          <p:spPr bwMode="auto">
            <a:xfrm>
              <a:off x="7747" y="5179"/>
              <a:ext cx="252" cy="92"/>
            </a:xfrm>
            <a:custGeom>
              <a:avLst/>
              <a:gdLst>
                <a:gd name="T0" fmla="*/ 2268 w 2268"/>
                <a:gd name="T1" fmla="*/ 0 h 825"/>
                <a:gd name="T2" fmla="*/ 0 w 2268"/>
                <a:gd name="T3" fmla="*/ 825 h 825"/>
                <a:gd name="T4" fmla="*/ 2268 w 2268"/>
                <a:gd name="T5" fmla="*/ 426 h 825"/>
                <a:gd name="T6" fmla="*/ 2268 w 2268"/>
                <a:gd name="T7" fmla="*/ 0 h 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68" h="825">
                  <a:moveTo>
                    <a:pt x="2268" y="0"/>
                  </a:moveTo>
                  <a:lnTo>
                    <a:pt x="0" y="825"/>
                  </a:lnTo>
                  <a:lnTo>
                    <a:pt x="2268" y="426"/>
                  </a:lnTo>
                  <a:lnTo>
                    <a:pt x="2268" y="0"/>
                  </a:lnTo>
                  <a:close/>
                </a:path>
              </a:pathLst>
            </a:custGeom>
            <a:solidFill>
              <a:srgbClr val="FFD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15056">
                <a:defRPr/>
              </a:pPr>
              <a:endParaRPr lang="en-IN" sz="1613" kern="0" dirty="0">
                <a:solidFill>
                  <a:srgbClr val="646464"/>
                </a:solidFill>
                <a:latin typeface="EYInterstate Light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7117" y="461458"/>
            <a:ext cx="11304688" cy="4309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4458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  <p:sldLayoutId id="2147483720" r:id="rId18"/>
    <p:sldLayoutId id="2147483721" r:id="rId19"/>
  </p:sldLayoutIdLst>
  <p:hf sldNum="0" hdr="0"/>
  <p:txStyles>
    <p:titleStyle>
      <a:lvl1pPr algn="l" defTabSz="913486" rtl="0" eaLnBrk="1" latinLnBrk="0" hangingPunct="1">
        <a:lnSpc>
          <a:spcPct val="100000"/>
        </a:lnSpc>
        <a:spcBef>
          <a:spcPct val="0"/>
        </a:spcBef>
        <a:buNone/>
        <a:defRPr sz="1798" b="0" kern="1200">
          <a:solidFill>
            <a:schemeClr val="bg1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356260" indent="-356260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3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519" indent="-356260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9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8778" indent="-356260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7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038" indent="-356260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5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1297" indent="-356260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5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2086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6pPr>
      <a:lvl7pPr marL="2968829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7pPr>
      <a:lvl8pPr marL="3425572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8pPr>
      <a:lvl9pPr marL="3882315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C7F0150-CD19-4109-AA55-7915B5EF35E4}"/>
              </a:ext>
            </a:extLst>
          </p:cNvPr>
          <p:cNvSpPr/>
          <p:nvPr/>
        </p:nvSpPr>
        <p:spPr>
          <a:xfrm>
            <a:off x="605195" y="933751"/>
            <a:ext cx="7406265" cy="51903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943"/>
            <a:endParaRPr lang="en-IN" sz="1199" dirty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9400FCF-6464-4C9A-A409-9F9F14E2494B}"/>
              </a:ext>
            </a:extLst>
          </p:cNvPr>
          <p:cNvSpPr/>
          <p:nvPr/>
        </p:nvSpPr>
        <p:spPr>
          <a:xfrm>
            <a:off x="8127396" y="933752"/>
            <a:ext cx="3546895" cy="519036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 fontScale="92500" lnSpcReduction="10000"/>
          </a:bodyPr>
          <a:lstStyle/>
          <a:p>
            <a:pPr indent="-356438" defTabSz="913943">
              <a:lnSpc>
                <a:spcPct val="90000"/>
              </a:lnSpc>
              <a:spcBef>
                <a:spcPct val="20000"/>
              </a:spcBef>
              <a:buClr>
                <a:srgbClr val="FFE600"/>
              </a:buClr>
              <a:buSzPct val="100000"/>
              <a:buFont typeface="EYInterstate" panose="02000503020000020004" pitchFamily="2" charset="0"/>
              <a:buChar char="•"/>
            </a:pPr>
            <a:endParaRPr lang="en-IN" sz="1699" dirty="0">
              <a:solidFill>
                <a:srgbClr val="000000"/>
              </a:solidFill>
              <a:latin typeface="EYInterstate Light" panose="02000506000000020004" pitchFamily="2" charset="0"/>
            </a:endParaRPr>
          </a:p>
          <a:p>
            <a:pPr marL="358596" indent="-184058" defTabSz="913943" eaLnBrk="0" hangingPunct="0">
              <a:lnSpc>
                <a:spcPct val="110000"/>
              </a:lnSpc>
              <a:spcBef>
                <a:spcPct val="30000"/>
              </a:spcBef>
              <a:buClr>
                <a:srgbClr val="27ACAA"/>
              </a:buClr>
              <a:buSzPct val="80000"/>
              <a:buFont typeface="Arial" panose="020B0604020202020204" pitchFamily="34" charset="0"/>
              <a:buChar char="►"/>
              <a:tabLst>
                <a:tab pos="3317803" algn="l"/>
              </a:tabLst>
              <a:defRPr/>
            </a:pPr>
            <a:r>
              <a:rPr lang="en-IN" sz="1499" b="1" dirty="0">
                <a:solidFill>
                  <a:srgbClr val="000000"/>
                </a:solidFill>
                <a:latin typeface="EYInterstate Light"/>
              </a:rPr>
              <a:t>The percentage of Gross Value add to total output in automotive sector for Madhya Pradesh has increased in 5 years from 2014. However, the increase in gross fixed capital formation signifies that there hasn't been significant increase in investment in the sector.</a:t>
            </a:r>
          </a:p>
          <a:p>
            <a:pPr marL="358596" indent="-184058" defTabSz="913943" eaLnBrk="0" hangingPunct="0">
              <a:lnSpc>
                <a:spcPct val="110000"/>
              </a:lnSpc>
              <a:spcBef>
                <a:spcPct val="30000"/>
              </a:spcBef>
              <a:buClr>
                <a:srgbClr val="27ACAA"/>
              </a:buClr>
              <a:buSzPct val="80000"/>
              <a:buFont typeface="Arial" panose="020B0604020202020204" pitchFamily="34" charset="0"/>
              <a:buChar char="►"/>
              <a:defRPr/>
            </a:pPr>
            <a:endParaRPr lang="en-IN" sz="1499" b="1" dirty="0">
              <a:solidFill>
                <a:srgbClr val="000000"/>
              </a:solidFill>
              <a:latin typeface="EYInterstate Light"/>
            </a:endParaRPr>
          </a:p>
          <a:p>
            <a:pPr marL="358596" indent="-184058" defTabSz="913943" eaLnBrk="0" hangingPunct="0">
              <a:lnSpc>
                <a:spcPct val="110000"/>
              </a:lnSpc>
              <a:spcBef>
                <a:spcPct val="30000"/>
              </a:spcBef>
              <a:buClr>
                <a:srgbClr val="27ACAA"/>
              </a:buClr>
              <a:buSzPct val="80000"/>
              <a:buFont typeface="Arial" panose="020B0604020202020204" pitchFamily="34" charset="0"/>
              <a:buChar char="►"/>
              <a:defRPr/>
            </a:pPr>
            <a:r>
              <a:rPr lang="en-IN" sz="1499" b="1" dirty="0">
                <a:solidFill>
                  <a:srgbClr val="000000"/>
                </a:solidFill>
                <a:latin typeface="EYInterstate Light"/>
              </a:rPr>
              <a:t>Gujarat has shown a substantial increase in the investment and value add size increase.</a:t>
            </a:r>
          </a:p>
          <a:p>
            <a:pPr marL="358596" indent="-184058" defTabSz="913943" eaLnBrk="0" hangingPunct="0">
              <a:lnSpc>
                <a:spcPct val="110000"/>
              </a:lnSpc>
              <a:spcBef>
                <a:spcPct val="30000"/>
              </a:spcBef>
              <a:buClr>
                <a:srgbClr val="27ACAA"/>
              </a:buClr>
              <a:buSzPct val="80000"/>
              <a:buFont typeface="Arial" panose="020B0604020202020204" pitchFamily="34" charset="0"/>
              <a:buChar char="►"/>
              <a:defRPr/>
            </a:pPr>
            <a:r>
              <a:rPr lang="en-IN" sz="1499" b="1" dirty="0">
                <a:solidFill>
                  <a:srgbClr val="000000"/>
                </a:solidFill>
                <a:latin typeface="EYInterstate Light"/>
              </a:rPr>
              <a:t>While, Maharashtra, Tamil Nadu and Haryana have been forerunners in the automotive sector.</a:t>
            </a:r>
          </a:p>
          <a:p>
            <a:pPr marL="358596" indent="-184058" defTabSz="913943" eaLnBrk="0" hangingPunct="0">
              <a:lnSpc>
                <a:spcPct val="110000"/>
              </a:lnSpc>
              <a:spcBef>
                <a:spcPct val="30000"/>
              </a:spcBef>
              <a:buClr>
                <a:srgbClr val="27ACAA"/>
              </a:buClr>
              <a:buSzPct val="80000"/>
              <a:buFont typeface="Arial" panose="020B0604020202020204" pitchFamily="34" charset="0"/>
              <a:buChar char="►"/>
              <a:defRPr/>
            </a:pPr>
            <a:endParaRPr lang="en-IN" sz="1499" b="1" dirty="0">
              <a:solidFill>
                <a:srgbClr val="000000"/>
              </a:solidFill>
              <a:latin typeface="EYInterstate Light"/>
            </a:endParaRPr>
          </a:p>
          <a:p>
            <a:pPr marL="358596" indent="-184058" defTabSz="913943" eaLnBrk="0" hangingPunct="0">
              <a:lnSpc>
                <a:spcPct val="110000"/>
              </a:lnSpc>
              <a:spcBef>
                <a:spcPct val="30000"/>
              </a:spcBef>
              <a:buClr>
                <a:srgbClr val="27ACAA"/>
              </a:buClr>
              <a:buSzPct val="80000"/>
              <a:buFont typeface="Arial" panose="020B0604020202020204" pitchFamily="34" charset="0"/>
              <a:buChar char="►"/>
              <a:defRPr/>
            </a:pPr>
            <a:r>
              <a:rPr lang="en-IN" sz="1499" b="1" dirty="0">
                <a:solidFill>
                  <a:srgbClr val="000000"/>
                </a:solidFill>
                <a:latin typeface="EYInterstate Light"/>
              </a:rPr>
              <a:t>Madhya Pradesh needs to attract the large high GVA fetching units within the automotive sector to increase its standpoint amongst competitive states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C6D93A8-E9F3-4128-B9F8-C3EFA7C72349}"/>
              </a:ext>
            </a:extLst>
          </p:cNvPr>
          <p:cNvSpPr txBox="1">
            <a:spLocks/>
          </p:cNvSpPr>
          <p:nvPr/>
        </p:nvSpPr>
        <p:spPr>
          <a:xfrm>
            <a:off x="881284" y="101791"/>
            <a:ext cx="10701117" cy="784614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92500" lnSpcReduction="20000"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pPr defTabSz="913943">
              <a:lnSpc>
                <a:spcPct val="120000"/>
              </a:lnSpc>
              <a:spcAft>
                <a:spcPts val="600"/>
              </a:spcAft>
            </a:pPr>
            <a:r>
              <a:rPr lang="en-US" sz="2999" dirty="0">
                <a:solidFill>
                  <a:prstClr val="white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Analysis of Madhya Pradesh’s sectoral performance</a:t>
            </a:r>
            <a:br>
              <a:rPr lang="en-US" sz="2799" dirty="0">
                <a:solidFill>
                  <a:prstClr val="white"/>
                </a:solidFill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en-US" sz="2399" dirty="0">
                <a:solidFill>
                  <a:prstClr val="white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Illustrative: Automotive Sector</a:t>
            </a:r>
            <a:endParaRPr lang="en-US" sz="2799" dirty="0">
              <a:solidFill>
                <a:prstClr val="white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8" name="Freeform 1">
            <a:extLst>
              <a:ext uri="{FF2B5EF4-FFF2-40B4-BE49-F238E27FC236}">
                <a16:creationId xmlns:a16="http://schemas.microsoft.com/office/drawing/2014/main" id="{E11E9C3B-F345-440E-BF1B-7C82E94A81BA}"/>
              </a:ext>
            </a:extLst>
          </p:cNvPr>
          <p:cNvSpPr>
            <a:spLocks/>
          </p:cNvSpPr>
          <p:nvPr/>
        </p:nvSpPr>
        <p:spPr bwMode="gray">
          <a:xfrm>
            <a:off x="438882" y="3572"/>
            <a:ext cx="337761" cy="78461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344" tIns="45672" rIns="91344" bIns="45672" numCol="1" anchor="ctr" anchorCtr="0" compatLnSpc="1">
            <a:prstTxWarp prst="textNoShape">
              <a:avLst/>
            </a:prstTxWarp>
          </a:bodyPr>
          <a:lstStyle/>
          <a:p>
            <a:pPr defTabSz="913943">
              <a:defRPr/>
            </a:pPr>
            <a:endParaRPr lang="en-GB" sz="1998">
              <a:solidFill>
                <a:srgbClr val="000000">
                  <a:lumMod val="65000"/>
                  <a:lumOff val="35000"/>
                </a:srgbClr>
              </a:solidFill>
              <a:latin typeface="EYInterstate" panose="02000503020000020004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7F37238-1716-417A-B18C-1427C4996B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8670" y="886405"/>
            <a:ext cx="7332790" cy="5237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45301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5_EY widescreen presentation 2015 v1">
  <a:themeElements>
    <a:clrScheme name="Custom 3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D2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10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mbria</vt:lpstr>
      <vt:lpstr>EYInterstate</vt:lpstr>
      <vt:lpstr>EYInterstate Light</vt:lpstr>
      <vt:lpstr>Georgia</vt:lpstr>
      <vt:lpstr>1_EY dark background</vt:lpstr>
      <vt:lpstr>5_EY widescreen presentation 2015 v1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m Kumar Gk</dc:creator>
  <cp:lastModifiedBy>Aditya Patel</cp:lastModifiedBy>
  <cp:revision>2</cp:revision>
  <dcterms:created xsi:type="dcterms:W3CDTF">2024-04-04T11:06:41Z</dcterms:created>
  <dcterms:modified xsi:type="dcterms:W3CDTF">2024-12-09T06:45:25Z</dcterms:modified>
</cp:coreProperties>
</file>